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8"/>
  </p:notesMasterIdLst>
  <p:sldIdLst>
    <p:sldId id="256" r:id="rId2"/>
    <p:sldId id="492" r:id="rId3"/>
    <p:sldId id="493" r:id="rId4"/>
    <p:sldId id="494" r:id="rId5"/>
    <p:sldId id="495" r:id="rId6"/>
    <p:sldId id="496" r:id="rId7"/>
    <p:sldId id="497" r:id="rId8"/>
    <p:sldId id="498" r:id="rId9"/>
    <p:sldId id="499" r:id="rId10"/>
    <p:sldId id="500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503" r:id="rId20"/>
    <p:sldId id="504" r:id="rId21"/>
    <p:sldId id="505" r:id="rId22"/>
    <p:sldId id="506" r:id="rId23"/>
    <p:sldId id="507" r:id="rId24"/>
    <p:sldId id="508" r:id="rId25"/>
    <p:sldId id="509" r:id="rId26"/>
    <p:sldId id="510" r:id="rId27"/>
    <p:sldId id="511" r:id="rId28"/>
    <p:sldId id="512" r:id="rId29"/>
    <p:sldId id="513" r:id="rId30"/>
    <p:sldId id="514" r:id="rId31"/>
    <p:sldId id="515" r:id="rId32"/>
    <p:sldId id="516" r:id="rId33"/>
    <p:sldId id="517" r:id="rId34"/>
    <p:sldId id="518" r:id="rId35"/>
    <p:sldId id="519" r:id="rId36"/>
    <p:sldId id="520" r:id="rId37"/>
    <p:sldId id="521" r:id="rId38"/>
    <p:sldId id="522" r:id="rId39"/>
    <p:sldId id="523" r:id="rId40"/>
    <p:sldId id="524" r:id="rId41"/>
    <p:sldId id="525" r:id="rId42"/>
    <p:sldId id="526" r:id="rId43"/>
    <p:sldId id="527" r:id="rId44"/>
    <p:sldId id="528" r:id="rId45"/>
    <p:sldId id="529" r:id="rId46"/>
    <p:sldId id="530" r:id="rId47"/>
    <p:sldId id="531" r:id="rId48"/>
    <p:sldId id="532" r:id="rId49"/>
    <p:sldId id="533" r:id="rId50"/>
    <p:sldId id="534" r:id="rId51"/>
    <p:sldId id="535" r:id="rId52"/>
    <p:sldId id="536" r:id="rId53"/>
    <p:sldId id="537" r:id="rId54"/>
    <p:sldId id="538" r:id="rId55"/>
    <p:sldId id="539" r:id="rId56"/>
    <p:sldId id="540" r:id="rId57"/>
    <p:sldId id="541" r:id="rId58"/>
    <p:sldId id="542" r:id="rId59"/>
    <p:sldId id="543" r:id="rId60"/>
    <p:sldId id="544" r:id="rId61"/>
    <p:sldId id="545" r:id="rId62"/>
    <p:sldId id="546" r:id="rId63"/>
    <p:sldId id="547" r:id="rId64"/>
    <p:sldId id="548" r:id="rId65"/>
    <p:sldId id="549" r:id="rId66"/>
    <p:sldId id="550" r:id="rId67"/>
    <p:sldId id="551" r:id="rId68"/>
    <p:sldId id="552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6" r:id="rId82"/>
    <p:sldId id="337" r:id="rId83"/>
    <p:sldId id="338" r:id="rId84"/>
    <p:sldId id="339" r:id="rId85"/>
    <p:sldId id="340" r:id="rId86"/>
    <p:sldId id="341" r:id="rId87"/>
    <p:sldId id="342" r:id="rId88"/>
    <p:sldId id="343" r:id="rId89"/>
    <p:sldId id="344" r:id="rId90"/>
    <p:sldId id="345" r:id="rId91"/>
    <p:sldId id="346" r:id="rId92"/>
    <p:sldId id="347" r:id="rId93"/>
    <p:sldId id="348" r:id="rId94"/>
    <p:sldId id="349" r:id="rId95"/>
    <p:sldId id="350" r:id="rId96"/>
    <p:sldId id="351" r:id="rId97"/>
    <p:sldId id="352" r:id="rId98"/>
    <p:sldId id="553" r:id="rId99"/>
    <p:sldId id="354" r:id="rId100"/>
    <p:sldId id="355" r:id="rId101"/>
    <p:sldId id="356" r:id="rId102"/>
    <p:sldId id="357" r:id="rId103"/>
    <p:sldId id="358" r:id="rId104"/>
    <p:sldId id="359" r:id="rId105"/>
    <p:sldId id="360" r:id="rId106"/>
    <p:sldId id="361" r:id="rId107"/>
    <p:sldId id="362" r:id="rId108"/>
    <p:sldId id="363" r:id="rId109"/>
    <p:sldId id="364" r:id="rId110"/>
    <p:sldId id="365" r:id="rId111"/>
    <p:sldId id="366" r:id="rId112"/>
    <p:sldId id="367" r:id="rId113"/>
    <p:sldId id="368" r:id="rId114"/>
    <p:sldId id="369" r:id="rId115"/>
    <p:sldId id="370" r:id="rId116"/>
    <p:sldId id="371" r:id="rId117"/>
    <p:sldId id="372" r:id="rId118"/>
    <p:sldId id="373" r:id="rId119"/>
    <p:sldId id="374" r:id="rId120"/>
    <p:sldId id="375" r:id="rId121"/>
    <p:sldId id="376" r:id="rId122"/>
    <p:sldId id="377" r:id="rId123"/>
    <p:sldId id="378" r:id="rId124"/>
    <p:sldId id="379" r:id="rId125"/>
    <p:sldId id="554" r:id="rId126"/>
    <p:sldId id="555" r:id="rId127"/>
    <p:sldId id="382" r:id="rId128"/>
    <p:sldId id="383" r:id="rId129"/>
    <p:sldId id="384" r:id="rId130"/>
    <p:sldId id="385" r:id="rId131"/>
    <p:sldId id="386" r:id="rId132"/>
    <p:sldId id="387" r:id="rId133"/>
    <p:sldId id="388" r:id="rId134"/>
    <p:sldId id="389" r:id="rId135"/>
    <p:sldId id="390" r:id="rId136"/>
    <p:sldId id="391" r:id="rId137"/>
    <p:sldId id="392" r:id="rId138"/>
    <p:sldId id="393" r:id="rId139"/>
    <p:sldId id="394" r:id="rId140"/>
    <p:sldId id="395" r:id="rId141"/>
    <p:sldId id="396" r:id="rId142"/>
    <p:sldId id="397" r:id="rId143"/>
    <p:sldId id="398" r:id="rId144"/>
    <p:sldId id="399" r:id="rId145"/>
    <p:sldId id="400" r:id="rId146"/>
    <p:sldId id="401" r:id="rId147"/>
    <p:sldId id="402" r:id="rId148"/>
    <p:sldId id="403" r:id="rId149"/>
    <p:sldId id="404" r:id="rId150"/>
    <p:sldId id="405" r:id="rId151"/>
    <p:sldId id="406" r:id="rId152"/>
    <p:sldId id="407" r:id="rId153"/>
    <p:sldId id="408" r:id="rId154"/>
    <p:sldId id="409" r:id="rId155"/>
    <p:sldId id="410" r:id="rId156"/>
    <p:sldId id="411" r:id="rId157"/>
    <p:sldId id="412" r:id="rId158"/>
    <p:sldId id="413" r:id="rId159"/>
    <p:sldId id="414" r:id="rId160"/>
    <p:sldId id="415" r:id="rId161"/>
    <p:sldId id="416" r:id="rId162"/>
    <p:sldId id="417" r:id="rId163"/>
    <p:sldId id="418" r:id="rId164"/>
    <p:sldId id="419" r:id="rId165"/>
    <p:sldId id="420" r:id="rId166"/>
    <p:sldId id="421" r:id="rId167"/>
    <p:sldId id="422" r:id="rId168"/>
    <p:sldId id="423" r:id="rId169"/>
    <p:sldId id="424" r:id="rId170"/>
    <p:sldId id="425" r:id="rId171"/>
    <p:sldId id="556" r:id="rId172"/>
    <p:sldId id="427" r:id="rId173"/>
    <p:sldId id="428" r:id="rId174"/>
    <p:sldId id="429" r:id="rId175"/>
    <p:sldId id="557" r:id="rId176"/>
    <p:sldId id="430" r:id="rId177"/>
    <p:sldId id="431" r:id="rId178"/>
    <p:sldId id="432" r:id="rId179"/>
    <p:sldId id="434" r:id="rId180"/>
    <p:sldId id="435" r:id="rId181"/>
    <p:sldId id="436" r:id="rId182"/>
    <p:sldId id="438" r:id="rId183"/>
    <p:sldId id="558" r:id="rId184"/>
    <p:sldId id="559" r:id="rId185"/>
    <p:sldId id="440" r:id="rId186"/>
    <p:sldId id="441" r:id="rId187"/>
    <p:sldId id="442" r:id="rId188"/>
    <p:sldId id="443" r:id="rId189"/>
    <p:sldId id="444" r:id="rId190"/>
    <p:sldId id="445" r:id="rId191"/>
    <p:sldId id="446" r:id="rId192"/>
    <p:sldId id="447" r:id="rId193"/>
    <p:sldId id="448" r:id="rId194"/>
    <p:sldId id="449" r:id="rId195"/>
    <p:sldId id="450" r:id="rId196"/>
    <p:sldId id="451" r:id="rId197"/>
    <p:sldId id="452" r:id="rId198"/>
    <p:sldId id="453" r:id="rId199"/>
    <p:sldId id="454" r:id="rId200"/>
    <p:sldId id="560" r:id="rId201"/>
    <p:sldId id="561" r:id="rId202"/>
    <p:sldId id="457" r:id="rId203"/>
    <p:sldId id="458" r:id="rId204"/>
    <p:sldId id="459" r:id="rId205"/>
    <p:sldId id="460" r:id="rId206"/>
    <p:sldId id="461" r:id="rId207"/>
    <p:sldId id="462" r:id="rId208"/>
    <p:sldId id="562" r:id="rId209"/>
    <p:sldId id="463" r:id="rId210"/>
    <p:sldId id="464" r:id="rId211"/>
    <p:sldId id="465" r:id="rId212"/>
    <p:sldId id="466" r:id="rId213"/>
    <p:sldId id="468" r:id="rId214"/>
    <p:sldId id="469" r:id="rId215"/>
    <p:sldId id="470" r:id="rId216"/>
    <p:sldId id="471" r:id="rId217"/>
    <p:sldId id="563" r:id="rId218"/>
    <p:sldId id="473" r:id="rId219"/>
    <p:sldId id="474" r:id="rId220"/>
    <p:sldId id="475" r:id="rId221"/>
    <p:sldId id="564" r:id="rId222"/>
    <p:sldId id="477" r:id="rId223"/>
    <p:sldId id="565" r:id="rId224"/>
    <p:sldId id="479" r:id="rId225"/>
    <p:sldId id="566" r:id="rId226"/>
    <p:sldId id="481" r:id="rId227"/>
    <p:sldId id="567" r:id="rId228"/>
    <p:sldId id="483" r:id="rId229"/>
    <p:sldId id="568" r:id="rId230"/>
    <p:sldId id="569" r:id="rId231"/>
    <p:sldId id="570" r:id="rId232"/>
    <p:sldId id="487" r:id="rId233"/>
    <p:sldId id="571" r:id="rId234"/>
    <p:sldId id="489" r:id="rId235"/>
    <p:sldId id="490" r:id="rId236"/>
    <p:sldId id="491" r:id="rId237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92" userDrawn="1">
          <p15:clr>
            <a:srgbClr val="A4A3A4"/>
          </p15:clr>
        </p15:guide>
        <p15:guide id="2" pos="48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E7E"/>
    <a:srgbClr val="F69545"/>
    <a:srgbClr val="AAC56C"/>
    <a:srgbClr val="FAA757"/>
    <a:srgbClr val="418FA2"/>
    <a:srgbClr val="4E81BC"/>
    <a:srgbClr val="6094C9"/>
    <a:srgbClr val="83984F"/>
    <a:srgbClr val="C1803F"/>
    <a:srgbClr val="CD66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0" autoAdjust="0"/>
    <p:restoredTop sz="87521" autoAdjust="0"/>
  </p:normalViewPr>
  <p:slideViewPr>
    <p:cSldViewPr snapToGrid="0">
      <p:cViewPr varScale="1">
        <p:scale>
          <a:sx n="90" d="100"/>
          <a:sy n="90" d="100"/>
        </p:scale>
        <p:origin x="-1560" y="-104"/>
      </p:cViewPr>
      <p:guideLst>
        <p:guide orient="horz" pos="192"/>
        <p:guide pos="48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1262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06" Type="http://schemas.openxmlformats.org/officeDocument/2006/relationships/slide" Target="slides/slide105.xml"/><Relationship Id="rId107" Type="http://schemas.openxmlformats.org/officeDocument/2006/relationships/slide" Target="slides/slide106.xml"/><Relationship Id="rId108" Type="http://schemas.openxmlformats.org/officeDocument/2006/relationships/slide" Target="slides/slide107.xml"/><Relationship Id="rId109" Type="http://schemas.openxmlformats.org/officeDocument/2006/relationships/slide" Target="slides/slide108.xml"/><Relationship Id="rId70" Type="http://schemas.openxmlformats.org/officeDocument/2006/relationships/slide" Target="slides/slide69.xml"/><Relationship Id="rId71" Type="http://schemas.openxmlformats.org/officeDocument/2006/relationships/slide" Target="slides/slide70.xml"/><Relationship Id="rId72" Type="http://schemas.openxmlformats.org/officeDocument/2006/relationships/slide" Target="slides/slide71.xml"/><Relationship Id="rId73" Type="http://schemas.openxmlformats.org/officeDocument/2006/relationships/slide" Target="slides/slide72.xml"/><Relationship Id="rId74" Type="http://schemas.openxmlformats.org/officeDocument/2006/relationships/slide" Target="slides/slide73.xml"/><Relationship Id="rId75" Type="http://schemas.openxmlformats.org/officeDocument/2006/relationships/slide" Target="slides/slide74.xml"/><Relationship Id="rId76" Type="http://schemas.openxmlformats.org/officeDocument/2006/relationships/slide" Target="slides/slide75.xml"/><Relationship Id="rId77" Type="http://schemas.openxmlformats.org/officeDocument/2006/relationships/slide" Target="slides/slide76.xml"/><Relationship Id="rId78" Type="http://schemas.openxmlformats.org/officeDocument/2006/relationships/slide" Target="slides/slide77.xml"/><Relationship Id="rId79" Type="http://schemas.openxmlformats.org/officeDocument/2006/relationships/slide" Target="slides/slide78.xml"/><Relationship Id="rId170" Type="http://schemas.openxmlformats.org/officeDocument/2006/relationships/slide" Target="slides/slide169.xml"/><Relationship Id="rId171" Type="http://schemas.openxmlformats.org/officeDocument/2006/relationships/slide" Target="slides/slide170.xml"/><Relationship Id="rId172" Type="http://schemas.openxmlformats.org/officeDocument/2006/relationships/slide" Target="slides/slide171.xml"/><Relationship Id="rId173" Type="http://schemas.openxmlformats.org/officeDocument/2006/relationships/slide" Target="slides/slide172.xml"/><Relationship Id="rId174" Type="http://schemas.openxmlformats.org/officeDocument/2006/relationships/slide" Target="slides/slide173.xml"/><Relationship Id="rId175" Type="http://schemas.openxmlformats.org/officeDocument/2006/relationships/slide" Target="slides/slide174.xml"/><Relationship Id="rId176" Type="http://schemas.openxmlformats.org/officeDocument/2006/relationships/slide" Target="slides/slide175.xml"/><Relationship Id="rId177" Type="http://schemas.openxmlformats.org/officeDocument/2006/relationships/slide" Target="slides/slide176.xml"/><Relationship Id="rId178" Type="http://schemas.openxmlformats.org/officeDocument/2006/relationships/slide" Target="slides/slide177.xml"/><Relationship Id="rId179" Type="http://schemas.openxmlformats.org/officeDocument/2006/relationships/slide" Target="slides/slide17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10" Type="http://schemas.openxmlformats.org/officeDocument/2006/relationships/slide" Target="slides/slide109.xml"/><Relationship Id="rId111" Type="http://schemas.openxmlformats.org/officeDocument/2006/relationships/slide" Target="slides/slide110.xml"/><Relationship Id="rId112" Type="http://schemas.openxmlformats.org/officeDocument/2006/relationships/slide" Target="slides/slide111.xml"/><Relationship Id="rId113" Type="http://schemas.openxmlformats.org/officeDocument/2006/relationships/slide" Target="slides/slide112.xml"/><Relationship Id="rId114" Type="http://schemas.openxmlformats.org/officeDocument/2006/relationships/slide" Target="slides/slide113.xml"/><Relationship Id="rId115" Type="http://schemas.openxmlformats.org/officeDocument/2006/relationships/slide" Target="slides/slide114.xml"/><Relationship Id="rId116" Type="http://schemas.openxmlformats.org/officeDocument/2006/relationships/slide" Target="slides/slide115.xml"/><Relationship Id="rId117" Type="http://schemas.openxmlformats.org/officeDocument/2006/relationships/slide" Target="slides/slide116.xml"/><Relationship Id="rId118" Type="http://schemas.openxmlformats.org/officeDocument/2006/relationships/slide" Target="slides/slide117.xml"/><Relationship Id="rId119" Type="http://schemas.openxmlformats.org/officeDocument/2006/relationships/slide" Target="slides/slide118.xml"/><Relationship Id="rId200" Type="http://schemas.openxmlformats.org/officeDocument/2006/relationships/slide" Target="slides/slide199.xml"/><Relationship Id="rId201" Type="http://schemas.openxmlformats.org/officeDocument/2006/relationships/slide" Target="slides/slide200.xml"/><Relationship Id="rId202" Type="http://schemas.openxmlformats.org/officeDocument/2006/relationships/slide" Target="slides/slide201.xml"/><Relationship Id="rId203" Type="http://schemas.openxmlformats.org/officeDocument/2006/relationships/slide" Target="slides/slide202.xml"/><Relationship Id="rId204" Type="http://schemas.openxmlformats.org/officeDocument/2006/relationships/slide" Target="slides/slide203.xml"/><Relationship Id="rId205" Type="http://schemas.openxmlformats.org/officeDocument/2006/relationships/slide" Target="slides/slide204.xml"/><Relationship Id="rId206" Type="http://schemas.openxmlformats.org/officeDocument/2006/relationships/slide" Target="slides/slide205.xml"/><Relationship Id="rId207" Type="http://schemas.openxmlformats.org/officeDocument/2006/relationships/slide" Target="slides/slide206.xml"/><Relationship Id="rId208" Type="http://schemas.openxmlformats.org/officeDocument/2006/relationships/slide" Target="slides/slide207.xml"/><Relationship Id="rId209" Type="http://schemas.openxmlformats.org/officeDocument/2006/relationships/slide" Target="slides/slide20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80" Type="http://schemas.openxmlformats.org/officeDocument/2006/relationships/slide" Target="slides/slide79.xml"/><Relationship Id="rId81" Type="http://schemas.openxmlformats.org/officeDocument/2006/relationships/slide" Target="slides/slide80.xml"/><Relationship Id="rId82" Type="http://schemas.openxmlformats.org/officeDocument/2006/relationships/slide" Target="slides/slide81.xml"/><Relationship Id="rId83" Type="http://schemas.openxmlformats.org/officeDocument/2006/relationships/slide" Target="slides/slide82.xml"/><Relationship Id="rId84" Type="http://schemas.openxmlformats.org/officeDocument/2006/relationships/slide" Target="slides/slide83.xml"/><Relationship Id="rId85" Type="http://schemas.openxmlformats.org/officeDocument/2006/relationships/slide" Target="slides/slide84.xml"/><Relationship Id="rId86" Type="http://schemas.openxmlformats.org/officeDocument/2006/relationships/slide" Target="slides/slide85.xml"/><Relationship Id="rId87" Type="http://schemas.openxmlformats.org/officeDocument/2006/relationships/slide" Target="slides/slide86.xml"/><Relationship Id="rId88" Type="http://schemas.openxmlformats.org/officeDocument/2006/relationships/slide" Target="slides/slide87.xml"/><Relationship Id="rId89" Type="http://schemas.openxmlformats.org/officeDocument/2006/relationships/slide" Target="slides/slide88.xml"/><Relationship Id="rId180" Type="http://schemas.openxmlformats.org/officeDocument/2006/relationships/slide" Target="slides/slide179.xml"/><Relationship Id="rId181" Type="http://schemas.openxmlformats.org/officeDocument/2006/relationships/slide" Target="slides/slide180.xml"/><Relationship Id="rId182" Type="http://schemas.openxmlformats.org/officeDocument/2006/relationships/slide" Target="slides/slide181.xml"/><Relationship Id="rId183" Type="http://schemas.openxmlformats.org/officeDocument/2006/relationships/slide" Target="slides/slide182.xml"/><Relationship Id="rId184" Type="http://schemas.openxmlformats.org/officeDocument/2006/relationships/slide" Target="slides/slide183.xml"/><Relationship Id="rId185" Type="http://schemas.openxmlformats.org/officeDocument/2006/relationships/slide" Target="slides/slide184.xml"/><Relationship Id="rId186" Type="http://schemas.openxmlformats.org/officeDocument/2006/relationships/slide" Target="slides/slide185.xml"/><Relationship Id="rId187" Type="http://schemas.openxmlformats.org/officeDocument/2006/relationships/slide" Target="slides/slide186.xml"/><Relationship Id="rId188" Type="http://schemas.openxmlformats.org/officeDocument/2006/relationships/slide" Target="slides/slide187.xml"/><Relationship Id="rId189" Type="http://schemas.openxmlformats.org/officeDocument/2006/relationships/slide" Target="slides/slide18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20" Type="http://schemas.openxmlformats.org/officeDocument/2006/relationships/slide" Target="slides/slide119.xml"/><Relationship Id="rId121" Type="http://schemas.openxmlformats.org/officeDocument/2006/relationships/slide" Target="slides/slide120.xml"/><Relationship Id="rId122" Type="http://schemas.openxmlformats.org/officeDocument/2006/relationships/slide" Target="slides/slide121.xml"/><Relationship Id="rId123" Type="http://schemas.openxmlformats.org/officeDocument/2006/relationships/slide" Target="slides/slide122.xml"/><Relationship Id="rId124" Type="http://schemas.openxmlformats.org/officeDocument/2006/relationships/slide" Target="slides/slide123.xml"/><Relationship Id="rId125" Type="http://schemas.openxmlformats.org/officeDocument/2006/relationships/slide" Target="slides/slide124.xml"/><Relationship Id="rId126" Type="http://schemas.openxmlformats.org/officeDocument/2006/relationships/slide" Target="slides/slide125.xml"/><Relationship Id="rId127" Type="http://schemas.openxmlformats.org/officeDocument/2006/relationships/slide" Target="slides/slide126.xml"/><Relationship Id="rId128" Type="http://schemas.openxmlformats.org/officeDocument/2006/relationships/slide" Target="slides/slide127.xml"/><Relationship Id="rId129" Type="http://schemas.openxmlformats.org/officeDocument/2006/relationships/slide" Target="slides/slide128.xml"/><Relationship Id="rId210" Type="http://schemas.openxmlformats.org/officeDocument/2006/relationships/slide" Target="slides/slide209.xml"/><Relationship Id="rId211" Type="http://schemas.openxmlformats.org/officeDocument/2006/relationships/slide" Target="slides/slide210.xml"/><Relationship Id="rId212" Type="http://schemas.openxmlformats.org/officeDocument/2006/relationships/slide" Target="slides/slide211.xml"/><Relationship Id="rId213" Type="http://schemas.openxmlformats.org/officeDocument/2006/relationships/slide" Target="slides/slide212.xml"/><Relationship Id="rId214" Type="http://schemas.openxmlformats.org/officeDocument/2006/relationships/slide" Target="slides/slide213.xml"/><Relationship Id="rId215" Type="http://schemas.openxmlformats.org/officeDocument/2006/relationships/slide" Target="slides/slide214.xml"/><Relationship Id="rId216" Type="http://schemas.openxmlformats.org/officeDocument/2006/relationships/slide" Target="slides/slide215.xml"/><Relationship Id="rId217" Type="http://schemas.openxmlformats.org/officeDocument/2006/relationships/slide" Target="slides/slide216.xml"/><Relationship Id="rId218" Type="http://schemas.openxmlformats.org/officeDocument/2006/relationships/slide" Target="slides/slide217.xml"/><Relationship Id="rId219" Type="http://schemas.openxmlformats.org/officeDocument/2006/relationships/slide" Target="slides/slide218.xml"/><Relationship Id="rId90" Type="http://schemas.openxmlformats.org/officeDocument/2006/relationships/slide" Target="slides/slide89.xml"/><Relationship Id="rId91" Type="http://schemas.openxmlformats.org/officeDocument/2006/relationships/slide" Target="slides/slide90.xml"/><Relationship Id="rId92" Type="http://schemas.openxmlformats.org/officeDocument/2006/relationships/slide" Target="slides/slide91.xml"/><Relationship Id="rId93" Type="http://schemas.openxmlformats.org/officeDocument/2006/relationships/slide" Target="slides/slide92.xml"/><Relationship Id="rId94" Type="http://schemas.openxmlformats.org/officeDocument/2006/relationships/slide" Target="slides/slide93.xml"/><Relationship Id="rId95" Type="http://schemas.openxmlformats.org/officeDocument/2006/relationships/slide" Target="slides/slide94.xml"/><Relationship Id="rId96" Type="http://schemas.openxmlformats.org/officeDocument/2006/relationships/slide" Target="slides/slide95.xml"/><Relationship Id="rId97" Type="http://schemas.openxmlformats.org/officeDocument/2006/relationships/slide" Target="slides/slide96.xml"/><Relationship Id="rId98" Type="http://schemas.openxmlformats.org/officeDocument/2006/relationships/slide" Target="slides/slide97.xml"/><Relationship Id="rId99" Type="http://schemas.openxmlformats.org/officeDocument/2006/relationships/slide" Target="slides/slide98.xml"/><Relationship Id="rId190" Type="http://schemas.openxmlformats.org/officeDocument/2006/relationships/slide" Target="slides/slide189.xml"/><Relationship Id="rId191" Type="http://schemas.openxmlformats.org/officeDocument/2006/relationships/slide" Target="slides/slide190.xml"/><Relationship Id="rId192" Type="http://schemas.openxmlformats.org/officeDocument/2006/relationships/slide" Target="slides/slide191.xml"/><Relationship Id="rId193" Type="http://schemas.openxmlformats.org/officeDocument/2006/relationships/slide" Target="slides/slide192.xml"/><Relationship Id="rId194" Type="http://schemas.openxmlformats.org/officeDocument/2006/relationships/slide" Target="slides/slide193.xml"/><Relationship Id="rId195" Type="http://schemas.openxmlformats.org/officeDocument/2006/relationships/slide" Target="slides/slide194.xml"/><Relationship Id="rId196" Type="http://schemas.openxmlformats.org/officeDocument/2006/relationships/slide" Target="slides/slide195.xml"/><Relationship Id="rId197" Type="http://schemas.openxmlformats.org/officeDocument/2006/relationships/slide" Target="slides/slide196.xml"/><Relationship Id="rId198" Type="http://schemas.openxmlformats.org/officeDocument/2006/relationships/slide" Target="slides/slide197.xml"/><Relationship Id="rId199" Type="http://schemas.openxmlformats.org/officeDocument/2006/relationships/slide" Target="slides/slide19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130" Type="http://schemas.openxmlformats.org/officeDocument/2006/relationships/slide" Target="slides/slide129.xml"/><Relationship Id="rId131" Type="http://schemas.openxmlformats.org/officeDocument/2006/relationships/slide" Target="slides/slide130.xml"/><Relationship Id="rId132" Type="http://schemas.openxmlformats.org/officeDocument/2006/relationships/slide" Target="slides/slide131.xml"/><Relationship Id="rId133" Type="http://schemas.openxmlformats.org/officeDocument/2006/relationships/slide" Target="slides/slide132.xml"/><Relationship Id="rId220" Type="http://schemas.openxmlformats.org/officeDocument/2006/relationships/slide" Target="slides/slide219.xml"/><Relationship Id="rId221" Type="http://schemas.openxmlformats.org/officeDocument/2006/relationships/slide" Target="slides/slide220.xml"/><Relationship Id="rId222" Type="http://schemas.openxmlformats.org/officeDocument/2006/relationships/slide" Target="slides/slide221.xml"/><Relationship Id="rId223" Type="http://schemas.openxmlformats.org/officeDocument/2006/relationships/slide" Target="slides/slide222.xml"/><Relationship Id="rId224" Type="http://schemas.openxmlformats.org/officeDocument/2006/relationships/slide" Target="slides/slide223.xml"/><Relationship Id="rId225" Type="http://schemas.openxmlformats.org/officeDocument/2006/relationships/slide" Target="slides/slide224.xml"/><Relationship Id="rId226" Type="http://schemas.openxmlformats.org/officeDocument/2006/relationships/slide" Target="slides/slide225.xml"/><Relationship Id="rId227" Type="http://schemas.openxmlformats.org/officeDocument/2006/relationships/slide" Target="slides/slide226.xml"/><Relationship Id="rId228" Type="http://schemas.openxmlformats.org/officeDocument/2006/relationships/slide" Target="slides/slide227.xml"/><Relationship Id="rId229" Type="http://schemas.openxmlformats.org/officeDocument/2006/relationships/slide" Target="slides/slide228.xml"/><Relationship Id="rId134" Type="http://schemas.openxmlformats.org/officeDocument/2006/relationships/slide" Target="slides/slide133.xml"/><Relationship Id="rId135" Type="http://schemas.openxmlformats.org/officeDocument/2006/relationships/slide" Target="slides/slide134.xml"/><Relationship Id="rId136" Type="http://schemas.openxmlformats.org/officeDocument/2006/relationships/slide" Target="slides/slide135.xml"/><Relationship Id="rId137" Type="http://schemas.openxmlformats.org/officeDocument/2006/relationships/slide" Target="slides/slide136.xml"/><Relationship Id="rId138" Type="http://schemas.openxmlformats.org/officeDocument/2006/relationships/slide" Target="slides/slide137.xml"/><Relationship Id="rId139" Type="http://schemas.openxmlformats.org/officeDocument/2006/relationships/slide" Target="slides/slide1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40" Type="http://schemas.openxmlformats.org/officeDocument/2006/relationships/slide" Target="slides/slide139.xml"/><Relationship Id="rId141" Type="http://schemas.openxmlformats.org/officeDocument/2006/relationships/slide" Target="slides/slide140.xml"/><Relationship Id="rId142" Type="http://schemas.openxmlformats.org/officeDocument/2006/relationships/slide" Target="slides/slide141.xml"/><Relationship Id="rId143" Type="http://schemas.openxmlformats.org/officeDocument/2006/relationships/slide" Target="slides/slide142.xml"/><Relationship Id="rId144" Type="http://schemas.openxmlformats.org/officeDocument/2006/relationships/slide" Target="slides/slide143.xml"/><Relationship Id="rId145" Type="http://schemas.openxmlformats.org/officeDocument/2006/relationships/slide" Target="slides/slide144.xml"/><Relationship Id="rId146" Type="http://schemas.openxmlformats.org/officeDocument/2006/relationships/slide" Target="slides/slide145.xml"/><Relationship Id="rId147" Type="http://schemas.openxmlformats.org/officeDocument/2006/relationships/slide" Target="slides/slide146.xml"/><Relationship Id="rId148" Type="http://schemas.openxmlformats.org/officeDocument/2006/relationships/slide" Target="slides/slide147.xml"/><Relationship Id="rId149" Type="http://schemas.openxmlformats.org/officeDocument/2006/relationships/slide" Target="slides/slide148.xml"/><Relationship Id="rId230" Type="http://schemas.openxmlformats.org/officeDocument/2006/relationships/slide" Target="slides/slide229.xml"/><Relationship Id="rId231" Type="http://schemas.openxmlformats.org/officeDocument/2006/relationships/slide" Target="slides/slide230.xml"/><Relationship Id="rId232" Type="http://schemas.openxmlformats.org/officeDocument/2006/relationships/slide" Target="slides/slide231.xml"/><Relationship Id="rId233" Type="http://schemas.openxmlformats.org/officeDocument/2006/relationships/slide" Target="slides/slide232.xml"/><Relationship Id="rId234" Type="http://schemas.openxmlformats.org/officeDocument/2006/relationships/slide" Target="slides/slide233.xml"/><Relationship Id="rId235" Type="http://schemas.openxmlformats.org/officeDocument/2006/relationships/slide" Target="slides/slide234.xml"/><Relationship Id="rId236" Type="http://schemas.openxmlformats.org/officeDocument/2006/relationships/slide" Target="slides/slide235.xml"/><Relationship Id="rId237" Type="http://schemas.openxmlformats.org/officeDocument/2006/relationships/slide" Target="slides/slide236.xml"/><Relationship Id="rId238" Type="http://schemas.openxmlformats.org/officeDocument/2006/relationships/notesMaster" Target="notesMasters/notesMaster1.xml"/><Relationship Id="rId239" Type="http://schemas.openxmlformats.org/officeDocument/2006/relationships/printerSettings" Target="printerSettings/printerSettings1.bin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150" Type="http://schemas.openxmlformats.org/officeDocument/2006/relationships/slide" Target="slides/slide149.xml"/><Relationship Id="rId151" Type="http://schemas.openxmlformats.org/officeDocument/2006/relationships/slide" Target="slides/slide150.xml"/><Relationship Id="rId152" Type="http://schemas.openxmlformats.org/officeDocument/2006/relationships/slide" Target="slides/slide151.xml"/><Relationship Id="rId153" Type="http://schemas.openxmlformats.org/officeDocument/2006/relationships/slide" Target="slides/slide152.xml"/><Relationship Id="rId154" Type="http://schemas.openxmlformats.org/officeDocument/2006/relationships/slide" Target="slides/slide153.xml"/><Relationship Id="rId155" Type="http://schemas.openxmlformats.org/officeDocument/2006/relationships/slide" Target="slides/slide154.xml"/><Relationship Id="rId156" Type="http://schemas.openxmlformats.org/officeDocument/2006/relationships/slide" Target="slides/slide155.xml"/><Relationship Id="rId157" Type="http://schemas.openxmlformats.org/officeDocument/2006/relationships/slide" Target="slides/slide156.xml"/><Relationship Id="rId158" Type="http://schemas.openxmlformats.org/officeDocument/2006/relationships/slide" Target="slides/slide157.xml"/><Relationship Id="rId159" Type="http://schemas.openxmlformats.org/officeDocument/2006/relationships/slide" Target="slides/slide158.xml"/><Relationship Id="rId240" Type="http://schemas.openxmlformats.org/officeDocument/2006/relationships/presProps" Target="presProps.xml"/><Relationship Id="rId241" Type="http://schemas.openxmlformats.org/officeDocument/2006/relationships/viewProps" Target="viewProps.xml"/><Relationship Id="rId242" Type="http://schemas.openxmlformats.org/officeDocument/2006/relationships/theme" Target="theme/theme1.xml"/><Relationship Id="rId243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160" Type="http://schemas.openxmlformats.org/officeDocument/2006/relationships/slide" Target="slides/slide159.xml"/><Relationship Id="rId161" Type="http://schemas.openxmlformats.org/officeDocument/2006/relationships/slide" Target="slides/slide160.xml"/><Relationship Id="rId162" Type="http://schemas.openxmlformats.org/officeDocument/2006/relationships/slide" Target="slides/slide161.xml"/><Relationship Id="rId163" Type="http://schemas.openxmlformats.org/officeDocument/2006/relationships/slide" Target="slides/slide162.xml"/><Relationship Id="rId164" Type="http://schemas.openxmlformats.org/officeDocument/2006/relationships/slide" Target="slides/slide163.xml"/><Relationship Id="rId165" Type="http://schemas.openxmlformats.org/officeDocument/2006/relationships/slide" Target="slides/slide164.xml"/><Relationship Id="rId166" Type="http://schemas.openxmlformats.org/officeDocument/2006/relationships/slide" Target="slides/slide165.xml"/><Relationship Id="rId167" Type="http://schemas.openxmlformats.org/officeDocument/2006/relationships/slide" Target="slides/slide166.xml"/><Relationship Id="rId168" Type="http://schemas.openxmlformats.org/officeDocument/2006/relationships/slide" Target="slides/slide167.xml"/><Relationship Id="rId169" Type="http://schemas.openxmlformats.org/officeDocument/2006/relationships/slide" Target="slides/slide168.xml"/><Relationship Id="rId100" Type="http://schemas.openxmlformats.org/officeDocument/2006/relationships/slide" Target="slides/slide99.xml"/><Relationship Id="rId101" Type="http://schemas.openxmlformats.org/officeDocument/2006/relationships/slide" Target="slides/slide100.xml"/><Relationship Id="rId102" Type="http://schemas.openxmlformats.org/officeDocument/2006/relationships/slide" Target="slides/slide101.xml"/><Relationship Id="rId103" Type="http://schemas.openxmlformats.org/officeDocument/2006/relationships/slide" Target="slides/slide102.xml"/><Relationship Id="rId104" Type="http://schemas.openxmlformats.org/officeDocument/2006/relationships/slide" Target="slides/slide103.xml"/><Relationship Id="rId105" Type="http://schemas.openxmlformats.org/officeDocument/2006/relationships/slide" Target="slides/slide10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8CBA74-8777-134E-BC59-1E7D8C1AB59D}" type="datetimeFigureOut">
              <a:rPr lang="en-US" smtClean="0"/>
              <a:t>3/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3EDC76-73A9-9444-BD0D-1934E9A0C8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893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scikit-learn.org</a:t>
            </a:r>
            <a:r>
              <a:rPr lang="en-US" dirty="0" smtClean="0"/>
              <a:t>/stable/modules/</a:t>
            </a:r>
            <a:r>
              <a:rPr lang="en-US" dirty="0" err="1" smtClean="0"/>
              <a:t>clustering.htm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637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3EDC76-73A9-9444-BD0D-1934E9A0C8CC}" type="slidenum">
              <a:rPr lang="en-US" smtClean="0"/>
              <a:t>2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127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5260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2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221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3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5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7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9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20" Type="http://schemas.openxmlformats.org/officeDocument/2006/relationships/image" Target="../media/image18.png"/><Relationship Id="rId21" Type="http://schemas.openxmlformats.org/officeDocument/2006/relationships/image" Target="../media/image19.png"/><Relationship Id="rId22" Type="http://schemas.openxmlformats.org/officeDocument/2006/relationships/image" Target="../media/image20.png"/><Relationship Id="rId23" Type="http://schemas.openxmlformats.org/officeDocument/2006/relationships/image" Target="../media/image21.png"/><Relationship Id="rId24" Type="http://schemas.openxmlformats.org/officeDocument/2006/relationships/image" Target="../media/image22.png"/><Relationship Id="rId25" Type="http://schemas.openxmlformats.org/officeDocument/2006/relationships/image" Target="../media/image23.png"/><Relationship Id="rId26" Type="http://schemas.openxmlformats.org/officeDocument/2006/relationships/image" Target="../media/image24.png"/><Relationship Id="rId27" Type="http://schemas.openxmlformats.org/officeDocument/2006/relationships/image" Target="../media/image25.png"/><Relationship Id="rId28" Type="http://schemas.openxmlformats.org/officeDocument/2006/relationships/image" Target="../media/image26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Relationship Id="rId12" Type="http://schemas.openxmlformats.org/officeDocument/2006/relationships/image" Target="../media/image10.png"/><Relationship Id="rId13" Type="http://schemas.openxmlformats.org/officeDocument/2006/relationships/image" Target="../media/image11.png"/><Relationship Id="rId14" Type="http://schemas.openxmlformats.org/officeDocument/2006/relationships/image" Target="../media/image12.png"/><Relationship Id="rId15" Type="http://schemas.openxmlformats.org/officeDocument/2006/relationships/image" Target="../media/image13.png"/><Relationship Id="rId16" Type="http://schemas.openxmlformats.org/officeDocument/2006/relationships/image" Target="../media/image14.png"/><Relationship Id="rId17" Type="http://schemas.openxmlformats.org/officeDocument/2006/relationships/image" Target="../media/image15.png"/><Relationship Id="rId18" Type="http://schemas.openxmlformats.org/officeDocument/2006/relationships/image" Target="../media/image16.png"/><Relationship Id="rId19" Type="http://schemas.openxmlformats.org/officeDocument/2006/relationships/image" Target="../media/image17.pn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2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6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82538"/>
          </a:xfrm>
          <a:prstGeom prst="rect">
            <a:avLst/>
          </a:prstGeom>
          <a:blipFill>
            <a:blip r:embed="rId2" cstate="print"/>
            <a:srcRect/>
            <a:stretch>
              <a:fillRect b="-4514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02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sz="6600" baseline="3103" dirty="0" smtClean="0">
                <a:solidFill>
                  <a:srgbClr val="F69545"/>
                </a:solidFill>
                <a:cs typeface="Calibri"/>
              </a:rPr>
              <a:t>Other Clustering </a:t>
            </a:r>
            <a:r>
              <a:rPr sz="4400" dirty="0" smtClean="0">
                <a:solidFill>
                  <a:srgbClr val="F69545"/>
                </a:solidFill>
                <a:cs typeface="Calibri"/>
              </a:rPr>
              <a:t>Algorithms</a:t>
            </a:r>
            <a:endParaRPr sz="4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object 80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148029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696123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1" y="258782"/>
                </a:lnTo>
                <a:lnTo>
                  <a:pt x="306253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ln w="25399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367860" y="4662811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038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192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101916" y="369650"/>
            <a:ext cx="6356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01916" y="852250"/>
            <a:ext cx="6545347" cy="914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7F7E7E"/>
                </a:solidFill>
                <a:latin typeface="+mj-lt"/>
                <a:cs typeface="Calibri"/>
              </a:rPr>
              <a:t>Points don’t</a:t>
            </a:r>
            <a:r>
              <a:rPr lang="en-US" sz="4800" spc="0" baseline="2560" dirty="0" smtClean="0">
                <a:solidFill>
                  <a:srgbClr val="7F7E7E"/>
                </a:solidFill>
                <a:latin typeface="+mj-lt"/>
                <a:cs typeface="Calibri"/>
              </a:rPr>
              <a:t> change anymore.</a:t>
            </a:r>
            <a:endParaRPr sz="3200" dirty="0">
              <a:latin typeface="+mj-lt"/>
              <a:cs typeface="Calibri"/>
            </a:endParaRPr>
          </a:p>
          <a:p>
            <a:pPr marL="12700" marR="60960">
              <a:lnSpc>
                <a:spcPts val="3745"/>
              </a:lnSpc>
              <a:spcBef>
                <a:spcPts val="14"/>
              </a:spcBef>
            </a:pPr>
            <a:r>
              <a:rPr sz="3200" spc="0" dirty="0" smtClean="0">
                <a:solidFill>
                  <a:srgbClr val="F69545"/>
                </a:solidFill>
                <a:latin typeface="+mj-lt"/>
                <a:cs typeface="Calibri"/>
              </a:rPr>
              <a:t>Con</a:t>
            </a:r>
            <a:r>
              <a:rPr sz="3200" spc="-4" dirty="0" smtClean="0">
                <a:solidFill>
                  <a:srgbClr val="F69545"/>
                </a:solidFill>
                <a:latin typeface="+mj-lt"/>
                <a:cs typeface="Calibri"/>
              </a:rPr>
              <a:t>v</a:t>
            </a:r>
            <a:r>
              <a:rPr sz="3200" spc="0" dirty="0" smtClean="0">
                <a:solidFill>
                  <a:srgbClr val="F69545"/>
                </a:solidFill>
                <a:latin typeface="+mj-lt"/>
                <a:cs typeface="Calibri"/>
              </a:rPr>
              <a:t>erged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67860" y="4662811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244216" y="2582755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5" name="Group 8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8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9" name="object 74"/>
          <p:cNvSpPr/>
          <p:nvPr/>
        </p:nvSpPr>
        <p:spPr>
          <a:xfrm>
            <a:off x="6255631" y="258275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5865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58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4157672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5"/>
          <p:cNvSpPr txBox="1"/>
          <p:nvPr/>
        </p:nvSpPr>
        <p:spPr>
          <a:xfrm>
            <a:off x="1041016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(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L2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9" name="object 70"/>
          <p:cNvSpPr/>
          <p:nvPr/>
        </p:nvSpPr>
        <p:spPr>
          <a:xfrm>
            <a:off x="4114800" y="2070585"/>
            <a:ext cx="1143000" cy="1980711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4157672" y="2895840"/>
            <a:ext cx="40521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d</a:t>
            </a:r>
            <a:endParaRPr sz="2400" dirty="0"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10216" y="5207913"/>
            <a:ext cx="364734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 smtClean="0"/>
              <a:t>d </a:t>
            </a:r>
            <a:r>
              <a:rPr lang="en-US" sz="2800" dirty="0"/>
              <a:t>= (</a:t>
            </a:r>
            <a:r>
              <a:rPr lang="en-US" sz="2800" dirty="0" smtClean="0"/>
              <a:t>∆Age)</a:t>
            </a:r>
            <a:r>
              <a:rPr lang="en-US" sz="2800" baseline="30000" dirty="0" smtClean="0"/>
              <a:t>2</a:t>
            </a:r>
            <a:r>
              <a:rPr lang="en-US" sz="2800" dirty="0" smtClean="0"/>
              <a:t> + </a:t>
            </a:r>
            <a:r>
              <a:rPr lang="en-US" sz="2800" dirty="0"/>
              <a:t>(</a:t>
            </a:r>
            <a:r>
              <a:rPr lang="en-US" sz="2800" dirty="0" smtClean="0"/>
              <a:t>∆Income)</a:t>
            </a:r>
            <a:r>
              <a:rPr lang="en-US" sz="2800" baseline="30000" dirty="0" smtClean="0"/>
              <a:t>2 </a:t>
            </a:r>
            <a:endParaRPr lang="en-US" sz="2800" baseline="30000" dirty="0"/>
          </a:p>
        </p:txBody>
      </p:sp>
      <p:sp>
        <p:nvSpPr>
          <p:cNvPr id="45" name="Freeform 44"/>
          <p:cNvSpPr/>
          <p:nvPr/>
        </p:nvSpPr>
        <p:spPr>
          <a:xfrm>
            <a:off x="3996322" y="5206751"/>
            <a:ext cx="3154680" cy="515869"/>
          </a:xfrm>
          <a:custGeom>
            <a:avLst/>
            <a:gdLst>
              <a:gd name="connsiteX0" fmla="*/ 0 w 3230880"/>
              <a:gd name="connsiteY0" fmla="*/ 403860 h 495300"/>
              <a:gd name="connsiteX1" fmla="*/ 91440 w 3230880"/>
              <a:gd name="connsiteY1" fmla="*/ 495300 h 495300"/>
              <a:gd name="connsiteX2" fmla="*/ 91440 w 3230880"/>
              <a:gd name="connsiteY2" fmla="*/ 0 h 495300"/>
              <a:gd name="connsiteX3" fmla="*/ 3230880 w 3230880"/>
              <a:gd name="connsiteY3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0880" h="495300">
                <a:moveTo>
                  <a:pt x="0" y="403860"/>
                </a:moveTo>
                <a:lnTo>
                  <a:pt x="91440" y="495300"/>
                </a:lnTo>
                <a:lnTo>
                  <a:pt x="91440" y="0"/>
                </a:lnTo>
                <a:lnTo>
                  <a:pt x="3230880" y="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7" name="Straight Connector 46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8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5"/>
          <p:cNvSpPr txBox="1"/>
          <p:nvPr/>
        </p:nvSpPr>
        <p:spPr>
          <a:xfrm>
            <a:off x="1041016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Manhattan</a:t>
            </a:r>
            <a:r>
              <a:rPr lang="en-US" sz="4800" spc="0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(</a:t>
            </a:r>
            <a:r>
              <a:rPr lang="en-US" sz="4800" baseline="1706" dirty="0" err="1">
                <a:solidFill>
                  <a:srgbClr val="7F7E7E"/>
                </a:solidFill>
                <a:latin typeface="+mj-lt"/>
                <a:cs typeface="Calibri"/>
              </a:rPr>
              <a:t>Cityblock</a:t>
            </a:r>
            <a:r>
              <a:rPr lang="en-US" sz="4800" baseline="1706" dirty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, L1 </a:t>
            </a:r>
            <a:r>
              <a:rPr lang="en-US" sz="4800" baseline="1706" dirty="0" err="1" smtClean="0">
                <a:solidFill>
                  <a:srgbClr val="7F7E7E"/>
                </a:solidFill>
                <a:latin typeface="+mj-lt"/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)</a:t>
            </a:r>
            <a:r>
              <a:rPr lang="en-US" sz="48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3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object 5"/>
          <p:cNvSpPr txBox="1"/>
          <p:nvPr/>
        </p:nvSpPr>
        <p:spPr>
          <a:xfrm>
            <a:off x="5573662" y="2967915"/>
            <a:ext cx="1208138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Income</a:t>
            </a:r>
            <a:endParaRPr sz="2400" dirty="0">
              <a:cs typeface="Calibri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5407765" y="2070585"/>
            <a:ext cx="0" cy="2124861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40" name="Straight Connector 39"/>
          <p:cNvCxnSpPr/>
          <p:nvPr/>
        </p:nvCxnSpPr>
        <p:spPr>
          <a:xfrm flipH="1">
            <a:off x="4191000" y="4195446"/>
            <a:ext cx="1250093" cy="0"/>
          </a:xfrm>
          <a:prstGeom prst="line">
            <a:avLst/>
          </a:pr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41" name="object 5"/>
          <p:cNvSpPr txBox="1"/>
          <p:nvPr/>
        </p:nvSpPr>
        <p:spPr>
          <a:xfrm>
            <a:off x="4404405" y="4398769"/>
            <a:ext cx="77695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∆ 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 dirty="0">
              <a:cs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10216" y="5207913"/>
            <a:ext cx="357897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 smtClean="0"/>
              <a:t>d </a:t>
            </a:r>
            <a:r>
              <a:rPr lang="en-US" sz="2800"/>
              <a:t>= </a:t>
            </a:r>
            <a:r>
              <a:rPr lang="en-US" sz="2800" smtClean="0"/>
              <a:t>|∆Age</a:t>
            </a:r>
            <a:r>
              <a:rPr lang="en-US" sz="2800"/>
              <a:t>|</a:t>
            </a:r>
            <a:r>
              <a:rPr lang="en-US" sz="2800" smtClean="0"/>
              <a:t> + </a:t>
            </a:r>
            <a:r>
              <a:rPr lang="en-US" sz="2800" dirty="0"/>
              <a:t>|</a:t>
            </a:r>
            <a:r>
              <a:rPr lang="en-US" sz="2800" smtClean="0"/>
              <a:t>∆Income</a:t>
            </a:r>
            <a:r>
              <a:rPr lang="en-US" sz="2800"/>
              <a:t>|</a:t>
            </a:r>
            <a:r>
              <a:rPr lang="en-US" sz="2800" baseline="30000" smtClean="0"/>
              <a:t> </a:t>
            </a:r>
            <a:endParaRPr lang="en-US" sz="2800" baseline="300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9"/>
          <p:cNvSpPr/>
          <p:nvPr/>
        </p:nvSpPr>
        <p:spPr>
          <a:xfrm>
            <a:off x="2402392" y="4366261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402393" y="2530120"/>
            <a:ext cx="4656674" cy="3413480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Freeform 35"/>
          <p:cNvSpPr/>
          <p:nvPr/>
        </p:nvSpPr>
        <p:spPr>
          <a:xfrm>
            <a:off x="2493168" y="4743451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2402392" y="4366261"/>
            <a:ext cx="1476702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4"/>
          <p:cNvSpPr/>
          <p:nvPr/>
        </p:nvSpPr>
        <p:spPr>
          <a:xfrm>
            <a:off x="2402392" y="4876800"/>
            <a:ext cx="1476701" cy="1066799"/>
          </a:xfrm>
          <a:custGeom>
            <a:avLst/>
            <a:gdLst/>
            <a:ahLst/>
            <a:cxnLst/>
            <a:rect l="l" t="t" r="r" b="b"/>
            <a:pathLst>
              <a:path w="4715166" h="3448252">
                <a:moveTo>
                  <a:pt x="0" y="3448252"/>
                </a:moveTo>
                <a:lnTo>
                  <a:pt x="4715166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8"/>
          <p:cNvSpPr/>
          <p:nvPr/>
        </p:nvSpPr>
        <p:spPr>
          <a:xfrm>
            <a:off x="3843624" y="46151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8" name="Freeform 37"/>
          <p:cNvSpPr/>
          <p:nvPr/>
        </p:nvSpPr>
        <p:spPr>
          <a:xfrm>
            <a:off x="2493168" y="4743451"/>
            <a:ext cx="1259681" cy="1121569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681" h="1121569">
                <a:moveTo>
                  <a:pt x="0" y="1121569"/>
                </a:moveTo>
                <a:cubicBezTo>
                  <a:pt x="333375" y="739775"/>
                  <a:pt x="695325" y="372269"/>
                  <a:pt x="1045369" y="0"/>
                </a:cubicBezTo>
                <a:lnTo>
                  <a:pt x="1259681" y="200024"/>
                </a:lnTo>
                <a:lnTo>
                  <a:pt x="0" y="112156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34938"/>
          </a:xfrm>
          <a:prstGeom prst="rect">
            <a:avLst/>
          </a:prstGeom>
          <a:blipFill>
            <a:blip r:embed="rId2" cstate="print"/>
            <a:srcRect/>
            <a:stretch>
              <a:fillRect t="1" b="-3524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1423582" y="2286000"/>
            <a:ext cx="6501218" cy="120545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57544" marR="299390" algn="ctr">
              <a:lnSpc>
                <a:spcPts val="4715"/>
              </a:lnSpc>
              <a:spcBef>
                <a:spcPts val="235"/>
              </a:spcBef>
            </a:pPr>
            <a:r>
              <a:rPr sz="6600" spc="0" baseline="3103" dirty="0" smtClean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lang="en-US" sz="6600" spc="0" baseline="3103" dirty="0" smtClean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6600" baseline="1861" dirty="0">
                <a:solidFill>
                  <a:srgbClr val="F69545"/>
                </a:solidFill>
                <a:latin typeface="+mj-lt"/>
                <a:cs typeface="Calibri"/>
              </a:rPr>
              <a:t>Agglomerative </a:t>
            </a:r>
            <a:r>
              <a:rPr sz="4400" spc="0" dirty="0" smtClean="0">
                <a:solidFill>
                  <a:srgbClr val="F69545"/>
                </a:solidFill>
                <a:latin typeface="+mj-lt"/>
                <a:cs typeface="Calibri"/>
              </a:rPr>
              <a:t>Clustering</a:t>
            </a:r>
            <a:endParaRPr sz="44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5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5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088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/>
          <p:cNvSpPr/>
          <p:nvPr/>
        </p:nvSpPr>
        <p:spPr>
          <a:xfrm>
            <a:off x="2446165" y="4784613"/>
            <a:ext cx="2023771" cy="1139243"/>
          </a:xfrm>
          <a:custGeom>
            <a:avLst/>
            <a:gdLst>
              <a:gd name="connsiteX0" fmla="*/ 0 w 1276350"/>
              <a:gd name="connsiteY0" fmla="*/ 1104900 h 1104900"/>
              <a:gd name="connsiteX1" fmla="*/ 1081088 w 1276350"/>
              <a:gd name="connsiteY1" fmla="*/ 0 h 1104900"/>
              <a:gd name="connsiteX2" fmla="*/ 1276350 w 1276350"/>
              <a:gd name="connsiteY2" fmla="*/ 195262 h 1104900"/>
              <a:gd name="connsiteX3" fmla="*/ 0 w 1276350"/>
              <a:gd name="connsiteY3" fmla="*/ 1104900 h 1104900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16807 h 1116807"/>
              <a:gd name="connsiteX1" fmla="*/ 1050132 w 1245394"/>
              <a:gd name="connsiteY1" fmla="*/ 0 h 1116807"/>
              <a:gd name="connsiteX2" fmla="*/ 1245394 w 1245394"/>
              <a:gd name="connsiteY2" fmla="*/ 195262 h 1116807"/>
              <a:gd name="connsiteX3" fmla="*/ 0 w 1245394"/>
              <a:gd name="connsiteY3" fmla="*/ 1116807 h 1116807"/>
              <a:gd name="connsiteX0" fmla="*/ 0 w 1245394"/>
              <a:gd name="connsiteY0" fmla="*/ 1121569 h 1121569"/>
              <a:gd name="connsiteX1" fmla="*/ 1031082 w 1245394"/>
              <a:gd name="connsiteY1" fmla="*/ 0 h 1121569"/>
              <a:gd name="connsiteX2" fmla="*/ 1245394 w 1245394"/>
              <a:gd name="connsiteY2" fmla="*/ 200024 h 1121569"/>
              <a:gd name="connsiteX3" fmla="*/ 0 w 1245394"/>
              <a:gd name="connsiteY3" fmla="*/ 1121569 h 1121569"/>
              <a:gd name="connsiteX0" fmla="*/ 0 w 1259681"/>
              <a:gd name="connsiteY0" fmla="*/ 1121569 h 1121569"/>
              <a:gd name="connsiteX1" fmla="*/ 1045369 w 1259681"/>
              <a:gd name="connsiteY1" fmla="*/ 0 h 1121569"/>
              <a:gd name="connsiteX2" fmla="*/ 1259681 w 1259681"/>
              <a:gd name="connsiteY2" fmla="*/ 200024 h 1121569"/>
              <a:gd name="connsiteX3" fmla="*/ 0 w 12596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0 w 1983581"/>
              <a:gd name="connsiteY0" fmla="*/ 1121569 h 1121569"/>
              <a:gd name="connsiteX1" fmla="*/ 1045369 w 1983581"/>
              <a:gd name="connsiteY1" fmla="*/ 0 h 1121569"/>
              <a:gd name="connsiteX2" fmla="*/ 1983581 w 1983581"/>
              <a:gd name="connsiteY2" fmla="*/ 946784 h 1121569"/>
              <a:gd name="connsiteX3" fmla="*/ 0 w 1983581"/>
              <a:gd name="connsiteY3" fmla="*/ 1121569 h 1121569"/>
              <a:gd name="connsiteX0" fmla="*/ 9220 w 1992801"/>
              <a:gd name="connsiteY0" fmla="*/ 1121569 h 1169304"/>
              <a:gd name="connsiteX1" fmla="*/ 1054589 w 1992801"/>
              <a:gd name="connsiteY1" fmla="*/ 0 h 1169304"/>
              <a:gd name="connsiteX2" fmla="*/ 1992801 w 1992801"/>
              <a:gd name="connsiteY2" fmla="*/ 946784 h 1169304"/>
              <a:gd name="connsiteX3" fmla="*/ 625672 w 1992801"/>
              <a:gd name="connsiteY3" fmla="*/ 960868 h 1169304"/>
              <a:gd name="connsiteX4" fmla="*/ 9220 w 1992801"/>
              <a:gd name="connsiteY4" fmla="*/ 1121569 h 1169304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752 w 1992333"/>
              <a:gd name="connsiteY0" fmla="*/ 1121569 h 1180202"/>
              <a:gd name="connsiteX1" fmla="*/ 1054121 w 1992333"/>
              <a:gd name="connsiteY1" fmla="*/ 0 h 1180202"/>
              <a:gd name="connsiteX2" fmla="*/ 1992333 w 1992333"/>
              <a:gd name="connsiteY2" fmla="*/ 946784 h 1180202"/>
              <a:gd name="connsiteX3" fmla="*/ 648064 w 1992333"/>
              <a:gd name="connsiteY3" fmla="*/ 1037068 h 1180202"/>
              <a:gd name="connsiteX4" fmla="*/ 8752 w 1992333"/>
              <a:gd name="connsiteY4" fmla="*/ 1121569 h 1180202"/>
              <a:gd name="connsiteX0" fmla="*/ 8616 w 1992197"/>
              <a:gd name="connsiteY0" fmla="*/ 1121569 h 1188102"/>
              <a:gd name="connsiteX1" fmla="*/ 1053985 w 1992197"/>
              <a:gd name="connsiteY1" fmla="*/ 0 h 1188102"/>
              <a:gd name="connsiteX2" fmla="*/ 1992197 w 1992197"/>
              <a:gd name="connsiteY2" fmla="*/ 946784 h 1188102"/>
              <a:gd name="connsiteX3" fmla="*/ 647928 w 1992197"/>
              <a:gd name="connsiteY3" fmla="*/ 1037068 h 1188102"/>
              <a:gd name="connsiteX4" fmla="*/ 8616 w 1992197"/>
              <a:gd name="connsiteY4" fmla="*/ 1121569 h 1188102"/>
              <a:gd name="connsiteX0" fmla="*/ 7950 w 1991531"/>
              <a:gd name="connsiteY0" fmla="*/ 1121569 h 1195393"/>
              <a:gd name="connsiteX1" fmla="*/ 1053319 w 1991531"/>
              <a:gd name="connsiteY1" fmla="*/ 0 h 1195393"/>
              <a:gd name="connsiteX2" fmla="*/ 1991531 w 1991531"/>
              <a:gd name="connsiteY2" fmla="*/ 946784 h 1195393"/>
              <a:gd name="connsiteX3" fmla="*/ 685362 w 1991531"/>
              <a:gd name="connsiteY3" fmla="*/ 1067548 h 1195393"/>
              <a:gd name="connsiteX4" fmla="*/ 7950 w 1991531"/>
              <a:gd name="connsiteY4" fmla="*/ 1121569 h 1195393"/>
              <a:gd name="connsiteX0" fmla="*/ 8881 w 1992462"/>
              <a:gd name="connsiteY0" fmla="*/ 1121569 h 1186057"/>
              <a:gd name="connsiteX1" fmla="*/ 1054250 w 1992462"/>
              <a:gd name="connsiteY1" fmla="*/ 0 h 1186057"/>
              <a:gd name="connsiteX2" fmla="*/ 1992462 w 1992462"/>
              <a:gd name="connsiteY2" fmla="*/ 946784 h 1186057"/>
              <a:gd name="connsiteX3" fmla="*/ 686293 w 1992462"/>
              <a:gd name="connsiteY3" fmla="*/ 1067548 h 1186057"/>
              <a:gd name="connsiteX4" fmla="*/ 8881 w 1992462"/>
              <a:gd name="connsiteY4" fmla="*/ 1121569 h 1186057"/>
              <a:gd name="connsiteX0" fmla="*/ 93745 w 2077326"/>
              <a:gd name="connsiteY0" fmla="*/ 1121569 h 1284116"/>
              <a:gd name="connsiteX1" fmla="*/ 1139114 w 2077326"/>
              <a:gd name="connsiteY1" fmla="*/ 0 h 1284116"/>
              <a:gd name="connsiteX2" fmla="*/ 2077326 w 2077326"/>
              <a:gd name="connsiteY2" fmla="*/ 946784 h 1284116"/>
              <a:gd name="connsiteX3" fmla="*/ 771157 w 2077326"/>
              <a:gd name="connsiteY3" fmla="*/ 1067548 h 1284116"/>
              <a:gd name="connsiteX4" fmla="*/ 93745 w 2077326"/>
              <a:gd name="connsiteY4" fmla="*/ 1121569 h 1284116"/>
              <a:gd name="connsiteX0" fmla="*/ 6393 w 1989974"/>
              <a:gd name="connsiteY0" fmla="*/ 1121569 h 1162981"/>
              <a:gd name="connsiteX1" fmla="*/ 1051762 w 1989974"/>
              <a:gd name="connsiteY1" fmla="*/ 0 h 1162981"/>
              <a:gd name="connsiteX2" fmla="*/ 1989974 w 1989974"/>
              <a:gd name="connsiteY2" fmla="*/ 946784 h 1162981"/>
              <a:gd name="connsiteX3" fmla="*/ 683805 w 1989974"/>
              <a:gd name="connsiteY3" fmla="*/ 1067548 h 1162981"/>
              <a:gd name="connsiteX4" fmla="*/ 6393 w 1989974"/>
              <a:gd name="connsiteY4" fmla="*/ 1121569 h 1162981"/>
              <a:gd name="connsiteX0" fmla="*/ 623 w 1984204"/>
              <a:gd name="connsiteY0" fmla="*/ 1121569 h 1140081"/>
              <a:gd name="connsiteX1" fmla="*/ 1045992 w 1984204"/>
              <a:gd name="connsiteY1" fmla="*/ 0 h 1140081"/>
              <a:gd name="connsiteX2" fmla="*/ 1984204 w 1984204"/>
              <a:gd name="connsiteY2" fmla="*/ 946784 h 1140081"/>
              <a:gd name="connsiteX3" fmla="*/ 678035 w 1984204"/>
              <a:gd name="connsiteY3" fmla="*/ 1067548 h 1140081"/>
              <a:gd name="connsiteX4" fmla="*/ 623 w 1984204"/>
              <a:gd name="connsiteY4" fmla="*/ 1121569 h 1140081"/>
              <a:gd name="connsiteX0" fmla="*/ 623 w 2032736"/>
              <a:gd name="connsiteY0" fmla="*/ 1121569 h 1140081"/>
              <a:gd name="connsiteX1" fmla="*/ 1045992 w 2032736"/>
              <a:gd name="connsiteY1" fmla="*/ 0 h 1140081"/>
              <a:gd name="connsiteX2" fmla="*/ 1984204 w 2032736"/>
              <a:gd name="connsiteY2" fmla="*/ 946784 h 1140081"/>
              <a:gd name="connsiteX3" fmla="*/ 678035 w 2032736"/>
              <a:gd name="connsiteY3" fmla="*/ 1067548 h 1140081"/>
              <a:gd name="connsiteX4" fmla="*/ 623 w 2032736"/>
              <a:gd name="connsiteY4" fmla="*/ 1121569 h 1140081"/>
              <a:gd name="connsiteX0" fmla="*/ 623 w 1997457"/>
              <a:gd name="connsiteY0" fmla="*/ 1121569 h 1140081"/>
              <a:gd name="connsiteX1" fmla="*/ 1045992 w 1997457"/>
              <a:gd name="connsiteY1" fmla="*/ 0 h 1140081"/>
              <a:gd name="connsiteX2" fmla="*/ 1984204 w 1997457"/>
              <a:gd name="connsiteY2" fmla="*/ 946784 h 1140081"/>
              <a:gd name="connsiteX3" fmla="*/ 678035 w 1997457"/>
              <a:gd name="connsiteY3" fmla="*/ 1067548 h 1140081"/>
              <a:gd name="connsiteX4" fmla="*/ 623 w 1997457"/>
              <a:gd name="connsiteY4" fmla="*/ 1121569 h 1140081"/>
              <a:gd name="connsiteX0" fmla="*/ 623 w 2033210"/>
              <a:gd name="connsiteY0" fmla="*/ 1121569 h 1140081"/>
              <a:gd name="connsiteX1" fmla="*/ 1045992 w 2033210"/>
              <a:gd name="connsiteY1" fmla="*/ 0 h 1140081"/>
              <a:gd name="connsiteX2" fmla="*/ 1984204 w 2033210"/>
              <a:gd name="connsiteY2" fmla="*/ 946784 h 1140081"/>
              <a:gd name="connsiteX3" fmla="*/ 678035 w 2033210"/>
              <a:gd name="connsiteY3" fmla="*/ 1067548 h 1140081"/>
              <a:gd name="connsiteX4" fmla="*/ 623 w 2033210"/>
              <a:gd name="connsiteY4" fmla="*/ 1121569 h 1140081"/>
              <a:gd name="connsiteX0" fmla="*/ 623 w 1985752"/>
              <a:gd name="connsiteY0" fmla="*/ 1121569 h 1140081"/>
              <a:gd name="connsiteX1" fmla="*/ 1045992 w 1985752"/>
              <a:gd name="connsiteY1" fmla="*/ 0 h 1140081"/>
              <a:gd name="connsiteX2" fmla="*/ 1984204 w 1985752"/>
              <a:gd name="connsiteY2" fmla="*/ 946784 h 1140081"/>
              <a:gd name="connsiteX3" fmla="*/ 678035 w 1985752"/>
              <a:gd name="connsiteY3" fmla="*/ 1067548 h 1140081"/>
              <a:gd name="connsiteX4" fmla="*/ 623 w 1985752"/>
              <a:gd name="connsiteY4" fmla="*/ 1121569 h 1140081"/>
              <a:gd name="connsiteX0" fmla="*/ 623 w 2000959"/>
              <a:gd name="connsiteY0" fmla="*/ 1121569 h 1139567"/>
              <a:gd name="connsiteX1" fmla="*/ 1045992 w 2000959"/>
              <a:gd name="connsiteY1" fmla="*/ 0 h 1139567"/>
              <a:gd name="connsiteX2" fmla="*/ 1999444 w 2000959"/>
              <a:gd name="connsiteY2" fmla="*/ 969644 h 1139567"/>
              <a:gd name="connsiteX3" fmla="*/ 678035 w 2000959"/>
              <a:gd name="connsiteY3" fmla="*/ 1067548 h 1139567"/>
              <a:gd name="connsiteX4" fmla="*/ 623 w 2000959"/>
              <a:gd name="connsiteY4" fmla="*/ 1121569 h 1139567"/>
              <a:gd name="connsiteX0" fmla="*/ 623 w 2023771"/>
              <a:gd name="connsiteY0" fmla="*/ 1121569 h 1139243"/>
              <a:gd name="connsiteX1" fmla="*/ 1045992 w 2023771"/>
              <a:gd name="connsiteY1" fmla="*/ 0 h 1139243"/>
              <a:gd name="connsiteX2" fmla="*/ 2022304 w 2023771"/>
              <a:gd name="connsiteY2" fmla="*/ 984884 h 1139243"/>
              <a:gd name="connsiteX3" fmla="*/ 678035 w 2023771"/>
              <a:gd name="connsiteY3" fmla="*/ 1067548 h 1139243"/>
              <a:gd name="connsiteX4" fmla="*/ 623 w 2023771"/>
              <a:gd name="connsiteY4" fmla="*/ 1121569 h 113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3771" h="1139243">
                <a:moveTo>
                  <a:pt x="623" y="1121569"/>
                </a:moveTo>
                <a:cubicBezTo>
                  <a:pt x="-24142" y="1067435"/>
                  <a:pt x="695948" y="372269"/>
                  <a:pt x="1045992" y="0"/>
                </a:cubicBezTo>
                <a:cubicBezTo>
                  <a:pt x="1358729" y="315595"/>
                  <a:pt x="2060087" y="1012189"/>
                  <a:pt x="2022304" y="984884"/>
                </a:cubicBezTo>
                <a:cubicBezTo>
                  <a:pt x="1984521" y="957579"/>
                  <a:pt x="1014982" y="1044767"/>
                  <a:pt x="678035" y="1067548"/>
                </a:cubicBezTo>
                <a:cubicBezTo>
                  <a:pt x="341088" y="1090329"/>
                  <a:pt x="25388" y="1175703"/>
                  <a:pt x="623" y="1121569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bject 21"/>
          <p:cNvSpPr/>
          <p:nvPr/>
        </p:nvSpPr>
        <p:spPr>
          <a:xfrm>
            <a:off x="2383437" y="4366261"/>
            <a:ext cx="1495657" cy="1577339"/>
          </a:xfrm>
          <a:custGeom>
            <a:avLst/>
            <a:gdLst/>
            <a:ahLst/>
            <a:cxnLst/>
            <a:rect l="l" t="t" r="r" b="b"/>
            <a:pathLst>
              <a:path w="1535193" h="1612109">
                <a:moveTo>
                  <a:pt x="0" y="1612109"/>
                </a:moveTo>
                <a:lnTo>
                  <a:pt x="1535193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383437" y="5697332"/>
            <a:ext cx="2991304" cy="243619"/>
          </a:xfrm>
          <a:custGeom>
            <a:avLst/>
            <a:gdLst/>
            <a:ahLst/>
            <a:cxnLst/>
            <a:rect l="l" t="t" r="r" b="b"/>
            <a:pathLst>
              <a:path w="3030840" h="281041">
                <a:moveTo>
                  <a:pt x="0" y="281041"/>
                </a:moveTo>
                <a:lnTo>
                  <a:pt x="3030840" y="0"/>
                </a:ln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6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30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3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3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2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0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4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25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36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1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5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36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38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3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39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4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5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6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48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49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4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6" name="object 6"/>
          <p:cNvSpPr txBox="1"/>
          <p:nvPr/>
        </p:nvSpPr>
        <p:spPr>
          <a:xfrm>
            <a:off x="4624382" y="3107711"/>
            <a:ext cx="2638434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Euclidean </a:t>
            </a:r>
            <a:r>
              <a:rPr lang="en-US" sz="3600" baseline="2275" dirty="0" err="1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>
                <a:solidFill>
                  <a:srgbClr val="F69545"/>
                </a:solidFill>
                <a:cs typeface="Calibri"/>
              </a:rPr>
              <a:t> = 4.47 </a:t>
            </a:r>
          </a:p>
        </p:txBody>
      </p:sp>
      <p:sp>
        <p:nvSpPr>
          <p:cNvPr id="57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70"/>
          <p:cNvSpPr/>
          <p:nvPr/>
        </p:nvSpPr>
        <p:spPr>
          <a:xfrm>
            <a:off x="3496056" y="2209800"/>
            <a:ext cx="1609344" cy="216712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ject 5"/>
          <p:cNvSpPr txBox="1"/>
          <p:nvPr/>
        </p:nvSpPr>
        <p:spPr>
          <a:xfrm>
            <a:off x="1041016" y="545066"/>
            <a:ext cx="7874384" cy="89768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is better for text data 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</a:p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950" dirty="0" smtClean="0">
                <a:solidFill>
                  <a:srgbClr val="984706"/>
                </a:solidFill>
                <a:latin typeface="+mj-lt"/>
                <a:cs typeface="Calibri"/>
              </a:rPr>
              <a:t>Euclidean Distance is sensitive to doc. length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42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8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2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7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4624382" y="3107711"/>
            <a:ext cx="1876435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 = 0 </a:t>
            </a:r>
            <a:endParaRPr lang="en-US" sz="3600" baseline="2275" dirty="0">
              <a:solidFill>
                <a:srgbClr val="F69545"/>
              </a:solidFill>
              <a:cs typeface="Calibri"/>
            </a:endParaRPr>
          </a:p>
        </p:txBody>
      </p:sp>
      <p:sp>
        <p:nvSpPr>
          <p:cNvPr id="60" name="object 21"/>
          <p:cNvSpPr/>
          <p:nvPr/>
        </p:nvSpPr>
        <p:spPr>
          <a:xfrm>
            <a:off x="2383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2383437" y="4717138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5"/>
          <p:cNvSpPr txBox="1"/>
          <p:nvPr/>
        </p:nvSpPr>
        <p:spPr>
          <a:xfrm>
            <a:off x="1041016" y="545066"/>
            <a:ext cx="7874384" cy="87203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Cosine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Distance</a:t>
            </a:r>
            <a:r>
              <a:rPr lang="en-US" sz="4800" baseline="1706" dirty="0">
                <a:solidFill>
                  <a:srgbClr val="F69545"/>
                </a:solidFill>
                <a:latin typeface="+mj-lt"/>
                <a:cs typeface="Calibri"/>
              </a:rPr>
              <a:t> captures the “meaning</a:t>
            </a:r>
            <a:r>
              <a:rPr lang="en-US" sz="4800" baseline="1706" dirty="0" smtClean="0">
                <a:solidFill>
                  <a:srgbClr val="F69545"/>
                </a:solidFill>
                <a:latin typeface="+mj-lt"/>
                <a:cs typeface="Calibri"/>
              </a:rPr>
              <a:t>” distance better in a bag of words system</a:t>
            </a:r>
            <a:endParaRPr lang="en-US" sz="4800" baseline="1706" dirty="0">
              <a:solidFill>
                <a:srgbClr val="F69545"/>
              </a:solidFill>
              <a:latin typeface="+mj-lt"/>
              <a:cs typeface="Calibri"/>
            </a:endParaRPr>
          </a:p>
        </p:txBody>
      </p:sp>
      <p:sp>
        <p:nvSpPr>
          <p:cNvPr id="43" name="object 27"/>
          <p:cNvSpPr/>
          <p:nvPr/>
        </p:nvSpPr>
        <p:spPr>
          <a:xfrm>
            <a:off x="2208181" y="4550664"/>
            <a:ext cx="174744" cy="0"/>
          </a:xfrm>
          <a:custGeom>
            <a:avLst/>
            <a:gdLst/>
            <a:ahLst/>
            <a:cxnLst/>
            <a:rect l="l" t="t" r="r" b="b"/>
            <a:pathLst>
              <a:path w="174744">
                <a:moveTo>
                  <a:pt x="174744" y="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29"/>
          <p:cNvSpPr/>
          <p:nvPr/>
        </p:nvSpPr>
        <p:spPr>
          <a:xfrm>
            <a:off x="2208182" y="2092960"/>
            <a:ext cx="174743" cy="1"/>
          </a:xfrm>
          <a:custGeom>
            <a:avLst/>
            <a:gdLst/>
            <a:ahLst/>
            <a:cxnLst/>
            <a:rect l="l" t="t" r="r" b="b"/>
            <a:pathLst>
              <a:path w="174743" h="1">
                <a:moveTo>
                  <a:pt x="174743" y="0"/>
                </a:moveTo>
                <a:lnTo>
                  <a:pt x="0" y="1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31"/>
          <p:cNvSpPr/>
          <p:nvPr/>
        </p:nvSpPr>
        <p:spPr>
          <a:xfrm>
            <a:off x="3370852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33"/>
          <p:cNvSpPr/>
          <p:nvPr/>
        </p:nvSpPr>
        <p:spPr>
          <a:xfrm>
            <a:off x="5074811" y="5943600"/>
            <a:ext cx="1" cy="174743"/>
          </a:xfrm>
          <a:custGeom>
            <a:avLst/>
            <a:gdLst/>
            <a:ahLst/>
            <a:cxnLst/>
            <a:rect l="l" t="t" r="r" b="b"/>
            <a:pathLst>
              <a:path w="1" h="174743">
                <a:moveTo>
                  <a:pt x="1" y="174743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8"/>
          <p:cNvSpPr txBox="1"/>
          <p:nvPr/>
        </p:nvSpPr>
        <p:spPr>
          <a:xfrm>
            <a:off x="2001594" y="1933665"/>
            <a:ext cx="225603" cy="3301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6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8" name="object 6"/>
          <p:cNvSpPr txBox="1"/>
          <p:nvPr/>
        </p:nvSpPr>
        <p:spPr>
          <a:xfrm>
            <a:off x="2001594" y="4385564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2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9" name="object 4"/>
          <p:cNvSpPr txBox="1"/>
          <p:nvPr/>
        </p:nvSpPr>
        <p:spPr>
          <a:xfrm>
            <a:off x="4978208" y="617197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3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0" name="object 3"/>
          <p:cNvSpPr txBox="1"/>
          <p:nvPr/>
        </p:nvSpPr>
        <p:spPr>
          <a:xfrm>
            <a:off x="3270453" y="6176535"/>
            <a:ext cx="225603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1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51" name="object 6"/>
          <p:cNvSpPr txBox="1"/>
          <p:nvPr/>
        </p:nvSpPr>
        <p:spPr>
          <a:xfrm>
            <a:off x="1981199" y="3759280"/>
            <a:ext cx="34374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9BBA58"/>
                </a:solidFill>
                <a:cs typeface="Calibri"/>
              </a:rPr>
              <a:t>Hi</a:t>
            </a:r>
            <a:endParaRPr lang="en-US" sz="2400" dirty="0">
              <a:cs typeface="Calibri"/>
            </a:endParaRPr>
          </a:p>
          <a:p>
            <a:pPr marL="12700">
              <a:lnSpc>
                <a:spcPts val="2600"/>
              </a:lnSpc>
              <a:spcBef>
                <a:spcPts val="130"/>
              </a:spcBef>
            </a:pPr>
            <a:endParaRPr sz="2400" dirty="0">
              <a:cs typeface="Calibri"/>
            </a:endParaRPr>
          </a:p>
        </p:txBody>
      </p:sp>
      <p:sp>
        <p:nvSpPr>
          <p:cNvPr id="52" name="object 5"/>
          <p:cNvSpPr txBox="1"/>
          <p:nvPr/>
        </p:nvSpPr>
        <p:spPr>
          <a:xfrm>
            <a:off x="5071271" y="6116930"/>
            <a:ext cx="1253330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9BBA58"/>
                </a:solidFill>
                <a:cs typeface="Calibri"/>
              </a:rPr>
              <a:t>Bo</a:t>
            </a:r>
            <a:endParaRPr sz="2400" dirty="0">
              <a:cs typeface="Calibri"/>
            </a:endParaRPr>
          </a:p>
        </p:txBody>
      </p:sp>
      <p:sp>
        <p:nvSpPr>
          <p:cNvPr id="53" name="object 67"/>
          <p:cNvSpPr/>
          <p:nvPr/>
        </p:nvSpPr>
        <p:spPr>
          <a:xfrm>
            <a:off x="2383438" y="1888930"/>
            <a:ext cx="0" cy="4054670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48"/>
          <p:cNvSpPr/>
          <p:nvPr/>
        </p:nvSpPr>
        <p:spPr>
          <a:xfrm>
            <a:off x="3233928" y="43769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68"/>
          <p:cNvSpPr/>
          <p:nvPr/>
        </p:nvSpPr>
        <p:spPr>
          <a:xfrm>
            <a:off x="5062728" y="18889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6"/>
          <p:cNvSpPr txBox="1"/>
          <p:nvPr/>
        </p:nvSpPr>
        <p:spPr>
          <a:xfrm>
            <a:off x="3728686" y="4376928"/>
            <a:ext cx="18339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“</a:t>
            </a: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Hi Bo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8" name="object 6"/>
          <p:cNvSpPr txBox="1"/>
          <p:nvPr/>
        </p:nvSpPr>
        <p:spPr>
          <a:xfrm>
            <a:off x="5697936" y="1906202"/>
            <a:ext cx="3065064" cy="6668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7F7E7E"/>
                </a:solidFill>
                <a:cs typeface="Calibri"/>
              </a:rPr>
              <a:t>“Bo, Hi! Hi? Hi Bo. Bo. Hi? Hi. Hi</a:t>
            </a:r>
            <a:r>
              <a:rPr lang="en-US" sz="3600" baseline="2275" dirty="0">
                <a:solidFill>
                  <a:srgbClr val="7F7E7E"/>
                </a:solidFill>
                <a:cs typeface="Calibri"/>
              </a:rPr>
              <a:t>!”</a:t>
            </a:r>
            <a:endParaRPr sz="2400" dirty="0">
              <a:cs typeface="Calibri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4624382" y="3107711"/>
            <a:ext cx="1876435" cy="3334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Cosine </a:t>
            </a:r>
            <a:r>
              <a:rPr lang="en-US" sz="3600" baseline="2275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3600" baseline="2275" dirty="0" smtClean="0">
                <a:solidFill>
                  <a:srgbClr val="F69545"/>
                </a:solidFill>
                <a:cs typeface="Calibri"/>
              </a:rPr>
              <a:t> = 0 </a:t>
            </a:r>
            <a:endParaRPr lang="en-US" sz="3600" baseline="2275" dirty="0">
              <a:solidFill>
                <a:srgbClr val="F69545"/>
              </a:solidFill>
              <a:cs typeface="Calibri"/>
            </a:endParaRPr>
          </a:p>
        </p:txBody>
      </p:sp>
      <p:sp>
        <p:nvSpPr>
          <p:cNvPr id="60" name="object 21"/>
          <p:cNvSpPr/>
          <p:nvPr/>
        </p:nvSpPr>
        <p:spPr>
          <a:xfrm>
            <a:off x="2383437" y="2230415"/>
            <a:ext cx="2728934" cy="3713186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420" h="1576521">
                <a:moveTo>
                  <a:pt x="0" y="1576521"/>
                </a:moveTo>
                <a:cubicBezTo>
                  <a:pt x="511731" y="1039151"/>
                  <a:pt x="973689" y="537370"/>
                  <a:pt x="1485420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1"/>
          <p:cNvSpPr/>
          <p:nvPr/>
        </p:nvSpPr>
        <p:spPr>
          <a:xfrm>
            <a:off x="2383437" y="4717138"/>
            <a:ext cx="900134" cy="1226463"/>
          </a:xfrm>
          <a:custGeom>
            <a:avLst/>
            <a:gdLst>
              <a:gd name="connsiteX0" fmla="*/ 0 w 1485420"/>
              <a:gd name="connsiteY0" fmla="*/ 1576521 h 1576521"/>
              <a:gd name="connsiteX1" fmla="*/ 1485420 w 1485420"/>
              <a:gd name="connsiteY1" fmla="*/ 0 h 1576521"/>
              <a:gd name="connsiteX0" fmla="*/ 0 w 489963"/>
              <a:gd name="connsiteY0" fmla="*/ 520724 h 520724"/>
              <a:gd name="connsiteX1" fmla="*/ 489963 w 489963"/>
              <a:gd name="connsiteY1" fmla="*/ 0 h 520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9963" h="520724">
                <a:moveTo>
                  <a:pt x="0" y="520724"/>
                </a:moveTo>
                <a:cubicBezTo>
                  <a:pt x="511731" y="-16646"/>
                  <a:pt x="-21768" y="537370"/>
                  <a:pt x="489963" y="0"/>
                </a:cubicBezTo>
              </a:path>
            </a:pathLst>
          </a:custGeom>
          <a:ln w="25399">
            <a:solidFill>
              <a:srgbClr val="00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604886" y="1394897"/>
            <a:ext cx="7874384" cy="3847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2101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lustering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20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23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239" name="Group 23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24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4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7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{I, like, chocolate, ice, cream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</a:t>
            </a:r>
            <a:r>
              <a:rPr lang="en-US" sz="3800" baseline="1137" dirty="0">
                <a:solidFill>
                  <a:schemeClr val="bg1">
                    <a:lumMod val="50000"/>
                  </a:schemeClr>
                </a:solidFill>
                <a:cs typeface="Calibri"/>
              </a:rPr>
              <a:t>= {Do, I, want, chocolate, cream, or, vanilla}</a:t>
            </a:r>
            <a:endParaRPr lang="en-US" sz="3800" dirty="0">
              <a:solidFill>
                <a:schemeClr val="bg1">
                  <a:lumMod val="50000"/>
                </a:schemeClr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25" name="object 9"/>
          <p:cNvSpPr txBox="1"/>
          <p:nvPr/>
        </p:nvSpPr>
        <p:spPr>
          <a:xfrm>
            <a:off x="5063356" y="4275562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 smtClean="0">
                <a:cs typeface="Times New Roman"/>
              </a:rPr>
              <a:t>l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39" baseline="1136" dirty="0" smtClean="0">
                <a:cs typeface="Times New Roman"/>
              </a:rPr>
              <a:t>n</a:t>
            </a:r>
            <a:r>
              <a:rPr sz="3900" u="heavy" spc="59" baseline="1136" dirty="0" smtClean="0">
                <a:cs typeface="Times New Roman"/>
              </a:rPr>
              <a:t>(</a:t>
            </a:r>
            <a:r>
              <a:rPr sz="3900" i="1" u="heavy" spc="-4" baseline="1136" dirty="0" smtClean="0">
                <a:cs typeface="Times New Roman"/>
              </a:rPr>
              <a:t>s</a:t>
            </a:r>
            <a:r>
              <a:rPr sz="3900" i="1" u="heavy" spc="0" baseline="1136" dirty="0" smtClean="0">
                <a:cs typeface="Times New Roman"/>
              </a:rPr>
              <a:t>ha</a:t>
            </a:r>
            <a:r>
              <a:rPr sz="3900" i="1" u="heavy" spc="-4" baseline="1136" dirty="0" smtClean="0">
                <a:cs typeface="Times New Roman"/>
              </a:rPr>
              <a:t>r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0" baseline="1136" dirty="0" smtClean="0">
                <a:cs typeface="Times New Roman"/>
              </a:rPr>
              <a:t>d</a:t>
            </a:r>
            <a:r>
              <a:rPr sz="3900" u="heavy" spc="-444" baseline="1136" dirty="0" smtClean="0">
                <a:cs typeface="Times New Roman"/>
              </a:rPr>
              <a:t> </a:t>
            </a:r>
            <a:r>
              <a:rPr sz="3900" u="heavy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26" name="object 8"/>
          <p:cNvSpPr txBox="1"/>
          <p:nvPr/>
        </p:nvSpPr>
        <p:spPr>
          <a:xfrm>
            <a:off x="2777995" y="4473370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7" name="object 7"/>
          <p:cNvSpPr txBox="1"/>
          <p:nvPr/>
        </p:nvSpPr>
        <p:spPr>
          <a:xfrm>
            <a:off x="4302822" y="4473370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spc="0" baseline="1333" dirty="0" smtClean="0">
                <a:cs typeface="Symbols"/>
              </a:rPr>
              <a:t>=</a:t>
            </a:r>
            <a:r>
              <a:rPr sz="3900" spc="114" baseline="1333" dirty="0" smtClean="0">
                <a:cs typeface="Symbols"/>
              </a:rPr>
              <a:t> </a:t>
            </a:r>
            <a:r>
              <a:rPr sz="3900" spc="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28" name="object 10"/>
          <p:cNvSpPr txBox="1"/>
          <p:nvPr/>
        </p:nvSpPr>
        <p:spPr>
          <a:xfrm>
            <a:off x="3322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0" baseline="1136" dirty="0" smtClean="0">
                <a:cs typeface="Times New Roman"/>
              </a:rPr>
              <a:t>A</a:t>
            </a:r>
            <a:r>
              <a:rPr sz="3900" u="heavy" spc="-183" baseline="1136" dirty="0" smtClean="0">
                <a:cs typeface="Times New Roman"/>
              </a:rPr>
              <a:t> </a:t>
            </a:r>
            <a:r>
              <a:rPr sz="3900" u="heavy" spc="0" baseline="1039" dirty="0" smtClean="0">
                <a:cs typeface="Batang"/>
              </a:rPr>
              <a:t>∩</a:t>
            </a:r>
            <a:r>
              <a:rPr sz="3900" u="heavy" spc="-138" baseline="1136" dirty="0" smtClean="0">
                <a:cs typeface="Times New Roman"/>
              </a:rPr>
              <a:t> </a:t>
            </a:r>
            <a:r>
              <a:rPr sz="3900" i="1" u="heavy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29" name="object 5"/>
          <p:cNvSpPr txBox="1"/>
          <p:nvPr/>
        </p:nvSpPr>
        <p:spPr>
          <a:xfrm>
            <a:off x="3322737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179" baseline="1136" dirty="0" smtClean="0">
                <a:cs typeface="Times New Roman"/>
              </a:rPr>
              <a:t> </a:t>
            </a:r>
            <a:r>
              <a:rPr sz="3900" spc="0" baseline="1039" dirty="0" smtClean="0">
                <a:cs typeface="Batang"/>
              </a:rPr>
              <a:t>∪</a:t>
            </a:r>
            <a:r>
              <a:rPr sz="3900" spc="-344" baseline="1039" dirty="0" smtClean="0">
                <a:cs typeface="Batang"/>
              </a:rPr>
              <a:t> </a:t>
            </a:r>
            <a:r>
              <a:rPr sz="3900" i="1" spc="0" baseline="1136" dirty="0" smtClean="0">
                <a:cs typeface="Times New Roman"/>
              </a:rPr>
              <a:t>B</a:t>
            </a:r>
            <a:endParaRPr sz="3900">
              <a:cs typeface="Times New Roman"/>
            </a:endParaRPr>
          </a:p>
        </p:txBody>
      </p:sp>
      <p:sp>
        <p:nvSpPr>
          <p:cNvPr id="30" name="object 4"/>
          <p:cNvSpPr txBox="1"/>
          <p:nvPr/>
        </p:nvSpPr>
        <p:spPr>
          <a:xfrm>
            <a:off x="5063356" y="4595992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-14" baseline="1136" dirty="0" smtClean="0">
                <a:cs typeface="Times New Roman"/>
              </a:rPr>
              <a:t>e</a:t>
            </a:r>
            <a:r>
              <a:rPr sz="3900" i="1" spc="39" baseline="1136" dirty="0" smtClean="0">
                <a:cs typeface="Times New Roman"/>
              </a:rPr>
              <a:t>n</a:t>
            </a:r>
            <a:r>
              <a:rPr sz="3900" spc="59" baseline="1136" dirty="0" smtClean="0">
                <a:cs typeface="Times New Roman"/>
              </a:rPr>
              <a:t>(</a:t>
            </a: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150" baseline="1136" dirty="0" smtClean="0">
                <a:cs typeface="Times New Roman"/>
              </a:rPr>
              <a:t>l</a:t>
            </a:r>
            <a:r>
              <a:rPr sz="3900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1" name="object 3"/>
          <p:cNvSpPr txBox="1"/>
          <p:nvPr/>
        </p:nvSpPr>
        <p:spPr>
          <a:xfrm>
            <a:off x="3185360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32" name="object 2"/>
          <p:cNvSpPr txBox="1"/>
          <p:nvPr/>
        </p:nvSpPr>
        <p:spPr>
          <a:xfrm>
            <a:off x="3458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82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6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063356" y="4275562"/>
            <a:ext cx="1623691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-4" baseline="1136" dirty="0" smtClean="0">
                <a:cs typeface="Times New Roman"/>
              </a:rPr>
              <a:t>l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39" baseline="1136" dirty="0" smtClean="0">
                <a:cs typeface="Times New Roman"/>
              </a:rPr>
              <a:t>n</a:t>
            </a:r>
            <a:r>
              <a:rPr sz="3900" u="heavy" spc="59" baseline="1136" dirty="0" smtClean="0">
                <a:cs typeface="Times New Roman"/>
              </a:rPr>
              <a:t>(</a:t>
            </a:r>
            <a:r>
              <a:rPr sz="3900" i="1" u="heavy" spc="-4" baseline="1136" dirty="0" smtClean="0">
                <a:cs typeface="Times New Roman"/>
              </a:rPr>
              <a:t>s</a:t>
            </a:r>
            <a:r>
              <a:rPr sz="3900" i="1" u="heavy" spc="0" baseline="1136" dirty="0" smtClean="0">
                <a:cs typeface="Times New Roman"/>
              </a:rPr>
              <a:t>ha</a:t>
            </a:r>
            <a:r>
              <a:rPr sz="3900" i="1" u="heavy" spc="-4" baseline="1136" dirty="0" smtClean="0">
                <a:cs typeface="Times New Roman"/>
              </a:rPr>
              <a:t>r</a:t>
            </a:r>
            <a:r>
              <a:rPr sz="3900" i="1" u="heavy" spc="-14" baseline="1136" dirty="0" smtClean="0">
                <a:cs typeface="Times New Roman"/>
              </a:rPr>
              <a:t>e</a:t>
            </a:r>
            <a:r>
              <a:rPr sz="3900" i="1" u="heavy" spc="0" baseline="1136" dirty="0" smtClean="0">
                <a:cs typeface="Times New Roman"/>
              </a:rPr>
              <a:t>d</a:t>
            </a:r>
            <a:r>
              <a:rPr sz="3900" u="heavy" spc="-444" baseline="1136" dirty="0" smtClean="0">
                <a:cs typeface="Times New Roman"/>
              </a:rPr>
              <a:t> </a:t>
            </a:r>
            <a:r>
              <a:rPr sz="3900" u="heavy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777995" y="4473370"/>
            <a:ext cx="445990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302822" y="4473370"/>
            <a:ext cx="661781" cy="3702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spc="0" baseline="1333" dirty="0" smtClean="0">
                <a:cs typeface="Symbols"/>
              </a:rPr>
              <a:t>=</a:t>
            </a:r>
            <a:r>
              <a:rPr sz="3900" spc="114" baseline="1333" dirty="0" smtClean="0">
                <a:cs typeface="Symbols"/>
              </a:rPr>
              <a:t> </a:t>
            </a:r>
            <a:r>
              <a:rPr sz="3900" spc="0" baseline="1136" dirty="0" smtClean="0">
                <a:cs typeface="Times New Roman"/>
              </a:rPr>
              <a:t>1</a:t>
            </a:r>
            <a:r>
              <a:rPr sz="3900" spc="-450" baseline="1136" dirty="0" smtClean="0">
                <a:cs typeface="Times New Roman"/>
              </a:rPr>
              <a:t> </a:t>
            </a:r>
            <a:r>
              <a:rPr sz="3900" spc="0" baseline="1136" dirty="0" smtClean="0">
                <a:cs typeface="Times New Roman"/>
              </a:rPr>
              <a:t>−</a:t>
            </a:r>
            <a:endParaRPr sz="3900" dirty="0"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22738" y="4275562"/>
            <a:ext cx="881332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u="heavy" spc="0" baseline="1136" dirty="0" smtClean="0">
                <a:cs typeface="Times New Roman"/>
              </a:rPr>
              <a:t>A</a:t>
            </a:r>
            <a:r>
              <a:rPr sz="3900" u="heavy" spc="-183" baseline="1136" dirty="0" smtClean="0">
                <a:cs typeface="Times New Roman"/>
              </a:rPr>
              <a:t> </a:t>
            </a:r>
            <a:r>
              <a:rPr sz="3900" u="heavy" spc="0" baseline="1039" dirty="0" smtClean="0">
                <a:cs typeface="Batang"/>
              </a:rPr>
              <a:t>∩</a:t>
            </a:r>
            <a:r>
              <a:rPr sz="3900" u="heavy" spc="-138" baseline="1136" dirty="0" smtClean="0">
                <a:cs typeface="Times New Roman"/>
              </a:rPr>
              <a:t> </a:t>
            </a:r>
            <a:r>
              <a:rPr sz="3900" i="1" u="heavy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322737" y="4595992"/>
            <a:ext cx="881331" cy="357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179" baseline="1136" dirty="0" smtClean="0">
                <a:cs typeface="Times New Roman"/>
              </a:rPr>
              <a:t> </a:t>
            </a:r>
            <a:r>
              <a:rPr sz="3200" spc="0" baseline="1039" dirty="0" smtClean="0">
                <a:cs typeface="Batang"/>
              </a:rPr>
              <a:t>∪</a:t>
            </a:r>
            <a:r>
              <a:rPr sz="3900" spc="-344" baseline="1039" dirty="0" smtClean="0">
                <a:cs typeface="Batang"/>
              </a:rPr>
              <a:t> </a:t>
            </a:r>
            <a:r>
              <a:rPr sz="3900" i="1" spc="0" baseline="1136" dirty="0" smtClean="0">
                <a:cs typeface="Times New Roman"/>
              </a:rPr>
              <a:t>B</a:t>
            </a:r>
            <a:endParaRPr sz="3900" dirty="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063356" y="4595992"/>
            <a:ext cx="1566044" cy="354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95"/>
              </a:lnSpc>
              <a:spcBef>
                <a:spcPts val="129"/>
              </a:spcBef>
            </a:pP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-14" baseline="1136" dirty="0" smtClean="0">
                <a:cs typeface="Times New Roman"/>
              </a:rPr>
              <a:t>e</a:t>
            </a:r>
            <a:r>
              <a:rPr sz="3900" i="1" spc="39" baseline="1136" dirty="0" smtClean="0">
                <a:cs typeface="Times New Roman"/>
              </a:rPr>
              <a:t>n</a:t>
            </a:r>
            <a:r>
              <a:rPr sz="3900" spc="59" baseline="1136" dirty="0" smtClean="0">
                <a:cs typeface="Times New Roman"/>
              </a:rPr>
              <a:t>(</a:t>
            </a:r>
            <a:r>
              <a:rPr sz="3900" i="1" spc="0" baseline="1136" dirty="0" smtClean="0">
                <a:cs typeface="Times New Roman"/>
              </a:rPr>
              <a:t>a</a:t>
            </a:r>
            <a:r>
              <a:rPr sz="3900" i="1" spc="-4" baseline="1136" dirty="0" smtClean="0">
                <a:cs typeface="Times New Roman"/>
              </a:rPr>
              <a:t>l</a:t>
            </a:r>
            <a:r>
              <a:rPr sz="3900" i="1" spc="150" baseline="1136" dirty="0" smtClean="0">
                <a:cs typeface="Times New Roman"/>
              </a:rPr>
              <a:t>l</a:t>
            </a:r>
            <a:r>
              <a:rPr sz="3900" spc="0" baseline="1136" dirty="0" smtClean="0">
                <a:cs typeface="Times New Roman"/>
              </a:rPr>
              <a:t>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185360" y="4395180"/>
            <a:ext cx="5603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3458419" y="4395180"/>
            <a:ext cx="6384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999468" y="5436755"/>
            <a:ext cx="7140566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tabLst>
                <a:tab pos="7073900" algn="l"/>
              </a:tabLst>
            </a:pPr>
            <a:r>
              <a:rPr sz="3900" u="heavy" baseline="1114" dirty="0" smtClean="0">
                <a:cs typeface="Times New Roman"/>
              </a:rPr>
              <a:t>                     </a:t>
            </a:r>
            <a:r>
              <a:rPr sz="3900" u="heavy" spc="250" baseline="1114" dirty="0" smtClean="0">
                <a:cs typeface="Times New Roman"/>
              </a:rPr>
              <a:t> </a:t>
            </a:r>
            <a:r>
              <a:rPr sz="3900" i="1" u="heavy" spc="-4" baseline="1114" dirty="0" smtClean="0">
                <a:cs typeface="Times New Roman"/>
              </a:rPr>
              <a:t>l</a:t>
            </a:r>
            <a:r>
              <a:rPr sz="3900" i="1" u="heavy" spc="-14" baseline="1114" dirty="0" smtClean="0">
                <a:cs typeface="Times New Roman"/>
              </a:rPr>
              <a:t>e</a:t>
            </a:r>
            <a:r>
              <a:rPr sz="3900" i="1" u="heavy" spc="39" baseline="1114" dirty="0" smtClean="0">
                <a:cs typeface="Times New Roman"/>
              </a:rPr>
              <a:t>n</a:t>
            </a:r>
            <a:r>
              <a:rPr sz="3900" u="heavy" spc="-19" baseline="1114" dirty="0" smtClean="0">
                <a:cs typeface="Times New Roman"/>
              </a:rPr>
              <a:t>(</a:t>
            </a:r>
            <a:r>
              <a:rPr sz="3900" u="heavy" spc="50" baseline="1114" dirty="0" smtClean="0">
                <a:cs typeface="Times New Roman"/>
              </a:rPr>
              <a:t>{</a:t>
            </a:r>
            <a:r>
              <a:rPr sz="3900" i="1" u="heavy" spc="75" baseline="1114" dirty="0" smtClean="0">
                <a:cs typeface="Times New Roman"/>
              </a:rPr>
              <a:t>I</a:t>
            </a:r>
            <a:r>
              <a:rPr sz="3900" u="heavy" spc="0" baseline="1114" dirty="0" smtClean="0">
                <a:cs typeface="Times New Roman"/>
              </a:rPr>
              <a:t>,</a:t>
            </a:r>
            <a:r>
              <a:rPr sz="3900" u="heavy" spc="-325" baseline="1114" dirty="0" smtClean="0">
                <a:cs typeface="Times New Roman"/>
              </a:rPr>
              <a:t> 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0" baseline="1114" dirty="0" smtClean="0">
                <a:cs typeface="Times New Roman"/>
              </a:rPr>
              <a:t>ho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0" baseline="1114" dirty="0" smtClean="0">
                <a:cs typeface="Times New Roman"/>
              </a:rPr>
              <a:t>o</a:t>
            </a:r>
            <a:r>
              <a:rPr sz="3900" i="1" u="heavy" spc="-4" baseline="1114" dirty="0" smtClean="0">
                <a:cs typeface="Times New Roman"/>
              </a:rPr>
              <a:t>l</a:t>
            </a:r>
            <a:r>
              <a:rPr sz="3900" i="1" u="heavy" spc="0" baseline="1114" dirty="0" smtClean="0">
                <a:cs typeface="Times New Roman"/>
              </a:rPr>
              <a:t>a</a:t>
            </a:r>
            <a:r>
              <a:rPr sz="3900" i="1" u="heavy" spc="-4" baseline="1114" dirty="0" smtClean="0">
                <a:cs typeface="Times New Roman"/>
              </a:rPr>
              <a:t>t</a:t>
            </a:r>
            <a:r>
              <a:rPr sz="3900" i="1" u="heavy" spc="-159" baseline="1114" dirty="0" smtClean="0">
                <a:cs typeface="Times New Roman"/>
              </a:rPr>
              <a:t>e</a:t>
            </a:r>
            <a:r>
              <a:rPr sz="3900" u="heavy" spc="0" baseline="1114" dirty="0" smtClean="0">
                <a:cs typeface="Times New Roman"/>
              </a:rPr>
              <a:t>,</a:t>
            </a:r>
            <a:r>
              <a:rPr sz="3900" u="heavy" spc="-325" baseline="1114" dirty="0" smtClean="0">
                <a:cs typeface="Times New Roman"/>
              </a:rPr>
              <a:t> </a:t>
            </a:r>
            <a:r>
              <a:rPr sz="3900" i="1" u="heavy" spc="-14" baseline="1114" dirty="0" smtClean="0">
                <a:cs typeface="Times New Roman"/>
              </a:rPr>
              <a:t>c</a:t>
            </a:r>
            <a:r>
              <a:rPr sz="3900" i="1" u="heavy" spc="-4" baseline="1114" dirty="0" smtClean="0">
                <a:cs typeface="Times New Roman"/>
              </a:rPr>
              <a:t>r</a:t>
            </a:r>
            <a:r>
              <a:rPr sz="3900" i="1" u="heavy" spc="-14" baseline="1114" dirty="0" smtClean="0">
                <a:cs typeface="Times New Roman"/>
              </a:rPr>
              <a:t>e</a:t>
            </a:r>
            <a:r>
              <a:rPr sz="3900" i="1" u="heavy" spc="0" baseline="1114" dirty="0" smtClean="0">
                <a:cs typeface="Times New Roman"/>
              </a:rPr>
              <a:t>a</a:t>
            </a:r>
            <a:r>
              <a:rPr sz="3900" i="1" u="heavy" spc="-14" baseline="1114" dirty="0" smtClean="0">
                <a:cs typeface="Times New Roman"/>
              </a:rPr>
              <a:t>m</a:t>
            </a:r>
            <a:r>
              <a:rPr sz="3900" u="heavy" spc="0" baseline="1114" dirty="0" smtClean="0">
                <a:cs typeface="Times New Roman"/>
              </a:rPr>
              <a:t>}) 	</a:t>
            </a:r>
            <a:endParaRPr sz="3900" dirty="0"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73053" y="5620904"/>
            <a:ext cx="445998" cy="37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baseline="1114" dirty="0" smtClean="0">
                <a:cs typeface="Times New Roman"/>
              </a:rPr>
              <a:t>1</a:t>
            </a:r>
            <a:r>
              <a:rPr sz="3900" spc="-459" baseline="1114" dirty="0" smtClean="0">
                <a:cs typeface="Times New Roman"/>
              </a:rPr>
              <a:t> </a:t>
            </a:r>
            <a:r>
              <a:rPr sz="3900" spc="0" baseline="1114" dirty="0" smtClean="0">
                <a:cs typeface="Times New Roman"/>
              </a:rPr>
              <a:t>−</a:t>
            </a:r>
            <a:endParaRPr sz="3900">
              <a:cs typeface="Times New Roman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11455" y="5883112"/>
            <a:ext cx="7121621" cy="354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5"/>
              </a:lnSpc>
              <a:spcBef>
                <a:spcPts val="130"/>
              </a:spcBef>
            </a:pPr>
            <a:r>
              <a:rPr sz="3900" i="1" spc="-4" baseline="1114" dirty="0" smtClean="0">
                <a:cs typeface="Times New Roman"/>
              </a:rPr>
              <a:t>l</a:t>
            </a:r>
            <a:r>
              <a:rPr sz="3900" i="1" spc="-14" baseline="1114" dirty="0" smtClean="0">
                <a:cs typeface="Times New Roman"/>
              </a:rPr>
              <a:t>e</a:t>
            </a:r>
            <a:r>
              <a:rPr sz="3900" i="1" spc="39" baseline="1114" dirty="0" smtClean="0">
                <a:cs typeface="Times New Roman"/>
              </a:rPr>
              <a:t>n</a:t>
            </a:r>
            <a:r>
              <a:rPr sz="3900" spc="-19" baseline="1114" dirty="0" smtClean="0">
                <a:cs typeface="Times New Roman"/>
              </a:rPr>
              <a:t>(</a:t>
            </a:r>
            <a:r>
              <a:rPr sz="3900" spc="50" baseline="1114" dirty="0" smtClean="0">
                <a:cs typeface="Times New Roman"/>
              </a:rPr>
              <a:t>{</a:t>
            </a:r>
            <a:r>
              <a:rPr sz="3900" i="1" spc="75" baseline="1114" dirty="0" smtClean="0">
                <a:cs typeface="Times New Roman"/>
              </a:rPr>
              <a:t>I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64" baseline="1114" dirty="0" smtClean="0">
                <a:cs typeface="Times New Roman"/>
              </a:rPr>
              <a:t> </a:t>
            </a:r>
            <a:r>
              <a:rPr sz="3900" i="1" spc="-4" baseline="1114" dirty="0" smtClean="0">
                <a:cs typeface="Times New Roman"/>
              </a:rPr>
              <a:t>li</a:t>
            </a:r>
            <a:r>
              <a:rPr sz="3900" i="1" spc="-14" baseline="1114" dirty="0" smtClean="0">
                <a:cs typeface="Times New Roman"/>
              </a:rPr>
              <a:t>k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0" baseline="1114" dirty="0" smtClean="0">
                <a:cs typeface="Times New Roman"/>
              </a:rPr>
              <a:t>ho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0" baseline="1114" dirty="0" smtClean="0">
                <a:cs typeface="Times New Roman"/>
              </a:rPr>
              <a:t>o</a:t>
            </a:r>
            <a:r>
              <a:rPr sz="3900" i="1" spc="-4" baseline="1114" dirty="0" smtClean="0">
                <a:cs typeface="Times New Roman"/>
              </a:rPr>
              <a:t>l</a:t>
            </a:r>
            <a:r>
              <a:rPr sz="3900" i="1" spc="0" baseline="1114" dirty="0" smtClean="0">
                <a:cs typeface="Times New Roman"/>
              </a:rPr>
              <a:t>a</a:t>
            </a:r>
            <a:r>
              <a:rPr sz="3900" i="1" spc="-4" baseline="1114" dirty="0" smtClean="0">
                <a:cs typeface="Times New Roman"/>
              </a:rPr>
              <a:t>t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79" baseline="1114" dirty="0" smtClean="0">
                <a:cs typeface="Times New Roman"/>
              </a:rPr>
              <a:t> </a:t>
            </a:r>
            <a:r>
              <a:rPr sz="3900" i="1" spc="-4" baseline="1114" dirty="0" smtClean="0">
                <a:cs typeface="Times New Roman"/>
              </a:rPr>
              <a:t>i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-159" baseline="1114" dirty="0" smtClean="0">
                <a:cs typeface="Times New Roman"/>
              </a:rPr>
              <a:t>e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c</a:t>
            </a:r>
            <a:r>
              <a:rPr sz="3900" i="1" spc="-4" baseline="1114" dirty="0" smtClean="0">
                <a:cs typeface="Times New Roman"/>
              </a:rPr>
              <a:t>r</a:t>
            </a:r>
            <a:r>
              <a:rPr sz="3900" i="1" spc="-14" baseline="1114" dirty="0" smtClean="0">
                <a:cs typeface="Times New Roman"/>
              </a:rPr>
              <a:t>e</a:t>
            </a:r>
            <a:r>
              <a:rPr sz="3900" i="1" spc="0" baseline="1114" dirty="0" smtClean="0">
                <a:cs typeface="Times New Roman"/>
              </a:rPr>
              <a:t>a</a:t>
            </a:r>
            <a:r>
              <a:rPr sz="3900" i="1" spc="-122" baseline="1114" dirty="0" smtClean="0">
                <a:cs typeface="Times New Roman"/>
              </a:rPr>
              <a:t>m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213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d</a:t>
            </a:r>
            <a:r>
              <a:rPr sz="3900" i="1" spc="-159" baseline="1114" dirty="0" smtClean="0">
                <a:cs typeface="Times New Roman"/>
              </a:rPr>
              <a:t>o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294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wan</a:t>
            </a:r>
            <a:r>
              <a:rPr sz="3900" i="1" spc="-29" baseline="1114" dirty="0" smtClean="0">
                <a:cs typeface="Times New Roman"/>
              </a:rPr>
              <a:t>t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25" baseline="1114" dirty="0" smtClean="0">
                <a:cs typeface="Times New Roman"/>
              </a:rPr>
              <a:t> </a:t>
            </a:r>
            <a:r>
              <a:rPr sz="3900" i="1" spc="0" baseline="1114" dirty="0" smtClean="0">
                <a:cs typeface="Times New Roman"/>
              </a:rPr>
              <a:t>o</a:t>
            </a:r>
            <a:r>
              <a:rPr sz="3900" i="1" spc="-69" baseline="1114" dirty="0" smtClean="0">
                <a:cs typeface="Times New Roman"/>
              </a:rPr>
              <a:t>r</a:t>
            </a:r>
            <a:r>
              <a:rPr sz="3900" spc="0" baseline="1114" dirty="0" smtClean="0">
                <a:cs typeface="Times New Roman"/>
              </a:rPr>
              <a:t>,</a:t>
            </a:r>
            <a:r>
              <a:rPr sz="3900" spc="-314" baseline="1114" dirty="0" smtClean="0">
                <a:cs typeface="Times New Roman"/>
              </a:rPr>
              <a:t> </a:t>
            </a:r>
            <a:r>
              <a:rPr sz="3900" i="1" spc="-14" baseline="1114" dirty="0" smtClean="0">
                <a:cs typeface="Times New Roman"/>
              </a:rPr>
              <a:t>v</a:t>
            </a:r>
            <a:r>
              <a:rPr sz="3900" i="1" spc="0" baseline="1114" dirty="0" smtClean="0">
                <a:cs typeface="Times New Roman"/>
              </a:rPr>
              <a:t>an</a:t>
            </a:r>
            <a:r>
              <a:rPr sz="3900" i="1" spc="-4" baseline="1114" dirty="0" smtClean="0">
                <a:cs typeface="Times New Roman"/>
              </a:rPr>
              <a:t>ill</a:t>
            </a:r>
            <a:r>
              <a:rPr sz="3900" i="1" spc="-14" baseline="1114" dirty="0" smtClean="0">
                <a:cs typeface="Times New Roman"/>
              </a:rPr>
              <a:t>a</a:t>
            </a:r>
            <a:r>
              <a:rPr sz="3900" spc="0" baseline="1114" dirty="0" smtClean="0">
                <a:cs typeface="Times New Roman"/>
              </a:rPr>
              <a:t>})</a:t>
            </a:r>
            <a:endParaRPr sz="3900" dirty="0"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12168" y="5542746"/>
            <a:ext cx="184779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2" name="object 2"/>
          <p:cNvSpPr txBox="1"/>
          <p:nvPr/>
        </p:nvSpPr>
        <p:spPr>
          <a:xfrm>
            <a:off x="6236068" y="5542746"/>
            <a:ext cx="184190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3900"/>
          </a:p>
        </p:txBody>
      </p:sp>
      <p:sp>
        <p:nvSpPr>
          <p:cNvPr id="11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604886" y="1394897"/>
            <a:ext cx="7874384" cy="3449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pplies to sets (like bag of words)</a:t>
            </a: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spc="0" baseline="1950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A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I like chocolate ice cream.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885"/>
              </a:lnSpc>
              <a:spcBef>
                <a:spcPts val="13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A = {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lik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ice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2615"/>
              </a:lnSpc>
              <a:spcBef>
                <a:spcPts val="130"/>
              </a:spcBef>
            </a:pPr>
            <a:r>
              <a:rPr lang="en-US" sz="3800" baseline="2275" dirty="0" smtClean="0">
                <a:solidFill>
                  <a:srgbClr val="4E81BC"/>
                </a:solidFill>
                <a:cs typeface="Calibri"/>
              </a:rPr>
              <a:t>Sentence </a:t>
            </a:r>
            <a:r>
              <a:rPr lang="en-US" sz="3800" baseline="2275" dirty="0">
                <a:solidFill>
                  <a:srgbClr val="4E81BC"/>
                </a:solidFill>
                <a:cs typeface="Calibri"/>
              </a:rPr>
              <a:t>B</a:t>
            </a:r>
            <a:r>
              <a:rPr lang="en-US" sz="3800" baseline="2275" dirty="0">
                <a:solidFill>
                  <a:srgbClr val="7F7E7E"/>
                </a:solidFill>
                <a:cs typeface="Calibri"/>
              </a:rPr>
              <a:t>: “Do I want chocolate cream or vanilla cream?”</a:t>
            </a:r>
            <a:endParaRPr lang="en-US" sz="3800" dirty="0">
              <a:cs typeface="Calibri"/>
            </a:endParaRPr>
          </a:p>
          <a:p>
            <a:pPr marL="12700" marR="45720">
              <a:lnSpc>
                <a:spcPts val="2785"/>
              </a:lnSpc>
              <a:spcBef>
                <a:spcPts val="8"/>
              </a:spcBef>
            </a:pP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set B = {Do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I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want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hocolate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</a:t>
            </a:r>
            <a:r>
              <a:rPr lang="en-US" sz="3800" baseline="1137" dirty="0">
                <a:solidFill>
                  <a:srgbClr val="F69545"/>
                </a:solidFill>
                <a:cs typeface="Calibri"/>
              </a:rPr>
              <a:t>cream</a:t>
            </a:r>
            <a:r>
              <a:rPr lang="en-US" sz="3800" baseline="1137" dirty="0">
                <a:solidFill>
                  <a:srgbClr val="7F7E7E"/>
                </a:solidFill>
                <a:cs typeface="Calibri"/>
              </a:rPr>
              <a:t>, or, vanilla}</a:t>
            </a:r>
            <a:endParaRPr lang="en-US" sz="3800" dirty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endParaRPr lang="en-US" sz="3800" dirty="0" smtClean="0">
              <a:cs typeface="Calibri"/>
            </a:endParaRP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3800" baseline="1950" dirty="0" err="1">
                <a:solidFill>
                  <a:srgbClr val="7F7E7E"/>
                </a:solidFill>
                <a:cs typeface="Calibri"/>
              </a:rPr>
              <a:t>Jaccard</a:t>
            </a:r>
            <a:r>
              <a:rPr lang="en-US" sz="3800" baseline="1950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800" baseline="1950" dirty="0" err="1" smtClean="0">
                <a:solidFill>
                  <a:srgbClr val="7F7E7E"/>
                </a:solidFill>
                <a:cs typeface="Calibri"/>
              </a:rPr>
              <a:t>dist</a:t>
            </a:r>
            <a:endParaRPr lang="en-US" sz="3800" dirty="0" smtClean="0">
              <a:cs typeface="Calibri"/>
            </a:endParaRPr>
          </a:p>
        </p:txBody>
      </p:sp>
      <p:sp>
        <p:nvSpPr>
          <p:cNvPr id="10" name="object 5"/>
          <p:cNvSpPr txBox="1"/>
          <p:nvPr/>
        </p:nvSpPr>
        <p:spPr>
          <a:xfrm>
            <a:off x="604887" y="545066"/>
            <a:ext cx="7874384" cy="4894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 err="1">
                <a:solidFill>
                  <a:srgbClr val="4E81BC"/>
                </a:solidFill>
                <a:latin typeface="+mj-lt"/>
                <a:cs typeface="Calibri"/>
              </a:rPr>
              <a:t>Jaccard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Distance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 </a:t>
            </a:r>
            <a:endParaRPr lang="en-US" sz="4800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514600" y="4293730"/>
                <a:ext cx="3200400" cy="66773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14:m>
                  <m:oMathPara xmlns:m="http://schemas.openxmlformats.org/officeDocument/2006/math" xmlns="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charset="0"/>
                        </a:rPr>
                        <m:t>=1 −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charset="0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charset="0"/>
                            </a:rPr>
                            <m:t>9</m:t>
                          </m:r>
                        </m:den>
                      </m:f>
                      <m:box>
                        <m:boxPr>
                          <m:ctrlPr>
                            <a:rPr lang="en-US" sz="2000" b="0" i="1" smtClean="0">
                              <a:latin typeface="Cambria Math" charset="0"/>
                            </a:rPr>
                          </m:ctrlPr>
                        </m:boxPr>
                        <m:e>
                          <m:argPr>
                            <m:argSz m:val="-1"/>
                          </m:argPr>
                          <m:f>
                            <m:fPr>
                              <m:ctrlPr>
                                <a:rPr lang="en-US" sz="2000" b="0" i="1" smtClean="0">
                                  <a:latin typeface="Cambria Math" charset="0"/>
                                </a:rPr>
                              </m:ctrlPr>
                            </m:fPr>
                            <m:num/>
                            <m:den/>
                          </m:f>
                        </m:e>
                      </m:box>
                      <m:r>
                        <a:rPr lang="en-US" sz="2000" b="0" i="1" smtClean="0">
                          <a:latin typeface="Cambria Math" charset="0"/>
                        </a:rPr>
                        <m:t>=1 −0.333=0.667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4600" y="4293730"/>
                <a:ext cx="3200400" cy="667738"/>
              </a:xfrm>
              <a:prstGeom prst="rect">
                <a:avLst/>
              </a:prstGeom>
              <a:blipFill rotWithShape="1">
                <a:blip r:embed="rId2"/>
                <a:stretch>
                  <a:fillRect l="-7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18004"/>
          </a:xfrm>
          <a:prstGeom prst="rect">
            <a:avLst/>
          </a:prstGeom>
          <a:blipFill>
            <a:blip r:embed="rId2" cstate="print"/>
            <a:srcRect/>
            <a:stretch>
              <a:fillRect b="-36276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38996"/>
            <a:ext cx="7593972" cy="1206933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Back to Other</a:t>
            </a:r>
          </a:p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Clustering Algorithms</a:t>
            </a:r>
          </a:p>
        </p:txBody>
      </p:sp>
    </p:spTree>
    <p:extLst>
      <p:ext uri="{BB962C8B-B14F-4D97-AF65-F5344CB8AC3E}">
        <p14:creationId xmlns:p14="http://schemas.microsoft.com/office/powerpoint/2010/main" val="497718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01071"/>
          </a:xfrm>
          <a:prstGeom prst="rect">
            <a:avLst/>
          </a:prstGeom>
          <a:blipFill>
            <a:blip r:embed="rId2" cstate="print"/>
            <a:srcRect/>
            <a:stretch>
              <a:fillRect b="-3732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54549"/>
            <a:ext cx="7593972" cy="591380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DBSCAN</a:t>
            </a:r>
          </a:p>
        </p:txBody>
      </p:sp>
    </p:spTree>
    <p:extLst>
      <p:ext uri="{BB962C8B-B14F-4D97-AF65-F5344CB8AC3E}">
        <p14:creationId xmlns:p14="http://schemas.microsoft.com/office/powerpoint/2010/main" val="15356794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2101916" y="369650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sz="3300" baseline="2482" dirty="0" smtClean="0">
                <a:solidFill>
                  <a:srgbClr val="7F7E7E"/>
                </a:solidFill>
                <a:latin typeface="+mj-lt"/>
                <a:cs typeface="Calibri"/>
              </a:rPr>
              <a:t>Density-­‐based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spa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ti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al</a:t>
            </a:r>
            <a:r>
              <a:rPr sz="3300" spc="-170" baseline="2482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clustering of 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applications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with</a:t>
            </a:r>
            <a:r>
              <a:rPr lang="en-US"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r>
              <a:rPr sz="3300" spc="0" baseline="2482" dirty="0" smtClean="0">
                <a:solidFill>
                  <a:srgbClr val="7F7E7E"/>
                </a:solidFill>
                <a:latin typeface="+mj-lt"/>
                <a:cs typeface="Calibri"/>
              </a:rPr>
              <a:t>noise</a:t>
            </a:r>
            <a:endParaRPr lang="en-US" sz="3300" spc="0" baseline="2482" dirty="0" smtClean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0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7694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525"/>
              </a:lnSpc>
            </a:pPr>
            <a:r>
              <a:rPr lang="en-US" sz="3300" baseline="2482" dirty="0" smtClean="0">
                <a:solidFill>
                  <a:srgbClr val="7F7E7E"/>
                </a:solidFill>
                <a:latin typeface="+mj-lt"/>
                <a:cs typeface="Calibri"/>
              </a:rPr>
              <a:t>Start at a random point</a:t>
            </a:r>
            <a:endParaRPr lang="en-US" sz="3300" spc="0" baseline="2482" dirty="0" smtClean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512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object 66"/>
          <p:cNvSpPr/>
          <p:nvPr/>
        </p:nvSpPr>
        <p:spPr>
          <a:xfrm>
            <a:off x="4833383" y="186995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"/>
          <p:cNvSpPr txBox="1"/>
          <p:nvPr/>
        </p:nvSpPr>
        <p:spPr>
          <a:xfrm>
            <a:off x="2101916" y="369650"/>
            <a:ext cx="6889684" cy="11926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Look at the radius </a:t>
            </a:r>
            <a:r>
              <a:rPr lang="en-US" sz="3200" i="1" baseline="1137" dirty="0">
                <a:solidFill>
                  <a:srgbClr val="4E81BC"/>
                </a:solidFill>
                <a:latin typeface="+mj-lt"/>
                <a:cs typeface="Calibri"/>
              </a:rPr>
              <a:t>epsilon</a:t>
            </a:r>
            <a:r>
              <a:rPr lang="en-US" sz="3200" i="1" spc="-4" baseline="1137" dirty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around </a:t>
            </a: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point</a:t>
            </a:r>
          </a:p>
          <a:p>
            <a:pPr marL="12700" lvl="0">
              <a:lnSpc>
                <a:spcPts val="2600"/>
              </a:lnSpc>
              <a:spcBef>
                <a:spcPts val="130"/>
              </a:spcBef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If enough points (</a:t>
            </a:r>
            <a:r>
              <a:rPr lang="en-US" sz="3200" i="1" baseline="2275" dirty="0" err="1" smtClean="0">
                <a:solidFill>
                  <a:srgbClr val="4E81BC"/>
                </a:solidFill>
                <a:latin typeface="+mj-lt"/>
                <a:cs typeface="Calibri"/>
              </a:rPr>
              <a:t>n_clu</a:t>
            </a:r>
            <a:r>
              <a:rPr lang="en-US" sz="3200" baseline="2275" dirty="0" smtClean="0">
                <a:solidFill>
                  <a:srgbClr val="7F7E7E"/>
                </a:solidFill>
                <a:latin typeface="+mj-lt"/>
                <a:cs typeface="Calibri"/>
              </a:rPr>
              <a:t>) within circle, start cluster</a:t>
            </a:r>
            <a:endParaRPr lang="en-US" sz="3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tiv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</a:t>
            </a:r>
            <a:r>
              <a:rPr sz="4800" spc="-248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closet pair, merge into a clus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5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89" name="Group 1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66"/>
          <p:cNvSpPr/>
          <p:nvPr/>
        </p:nvSpPr>
        <p:spPr>
          <a:xfrm>
            <a:off x="4833383" y="186995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66"/>
          <p:cNvSpPr/>
          <p:nvPr/>
        </p:nvSpPr>
        <p:spPr>
          <a:xfrm>
            <a:off x="4802381" y="144016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Everybody within </a:t>
            </a:r>
            <a:r>
              <a:rPr lang="en-US" sz="32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re part of the cluster.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Process each the same way.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4354855" y="168309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7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density-reachable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63" name="object 66"/>
          <p:cNvSpPr/>
          <p:nvPr/>
        </p:nvSpPr>
        <p:spPr>
          <a:xfrm>
            <a:off x="4442062" y="97310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7" name="Group 19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9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candidate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, it is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density-reachable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66"/>
          <p:cNvSpPr/>
          <p:nvPr/>
        </p:nvSpPr>
        <p:spPr>
          <a:xfrm>
            <a:off x="4442062" y="97310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5235487" y="1747308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4709777" y="225706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66"/>
          <p:cNvSpPr/>
          <p:nvPr/>
        </p:nvSpPr>
        <p:spPr>
          <a:xfrm>
            <a:off x="5040022" y="258653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66"/>
          <p:cNvSpPr/>
          <p:nvPr/>
        </p:nvSpPr>
        <p:spPr>
          <a:xfrm>
            <a:off x="5510555" y="246188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8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9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114548" y="265062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9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598008" y="273887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8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129" name="object 66"/>
          <p:cNvSpPr/>
          <p:nvPr/>
        </p:nvSpPr>
        <p:spPr>
          <a:xfrm>
            <a:off x="6669115" y="2026572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6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349882" y="369650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009085" y="203674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5876946" y="126343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375308" y="148070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until you find the entire cluster and no point is left unvisited by thi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1" name="object 66"/>
          <p:cNvSpPr/>
          <p:nvPr/>
        </p:nvSpPr>
        <p:spPr>
          <a:xfrm>
            <a:off x="6748576" y="125228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6411737" y="883449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FAA657">
              <a:alpha val="5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no neighbors left, randomly try a new (unvisited) point to potentially start a new cluster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66"/>
          <p:cNvSpPr/>
          <p:nvPr/>
        </p:nvSpPr>
        <p:spPr>
          <a:xfrm>
            <a:off x="5063930" y="429460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 dirty="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4516382" y="416432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4726124" y="480783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2101916" y="8522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8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66"/>
          <p:cNvSpPr/>
          <p:nvPr/>
        </p:nvSpPr>
        <p:spPr>
          <a:xfrm>
            <a:off x="5547621" y="477548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158805" y="4695347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4828723" y="379327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737340" y="468642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675492" y="3935144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904732" y="338920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640702" y="2845593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3171315" y="330179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770756" y="2789755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438400" y="330254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695191" y="3864410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AAC56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66"/>
          <p:cNvSpPr/>
          <p:nvPr/>
        </p:nvSpPr>
        <p:spPr>
          <a:xfrm>
            <a:off x="2470920" y="4419581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3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adding neighbors within 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epsilon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 chain reaction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3" name="object 66"/>
          <p:cNvSpPr/>
          <p:nvPr/>
        </p:nvSpPr>
        <p:spPr>
          <a:xfrm>
            <a:off x="1890756" y="4563486"/>
            <a:ext cx="1810252" cy="1760707"/>
          </a:xfrm>
          <a:custGeom>
            <a:avLst/>
            <a:gdLst/>
            <a:ahLst/>
            <a:cxnLst/>
            <a:rect l="l" t="t" r="r" b="b"/>
            <a:pathLst>
              <a:path w="1810252" h="1760707">
                <a:moveTo>
                  <a:pt x="0" y="880353"/>
                </a:moveTo>
                <a:lnTo>
                  <a:pt x="3000" y="952556"/>
                </a:lnTo>
                <a:lnTo>
                  <a:pt x="11846" y="1023151"/>
                </a:lnTo>
                <a:lnTo>
                  <a:pt x="26305" y="1091913"/>
                </a:lnTo>
                <a:lnTo>
                  <a:pt x="46143" y="1158614"/>
                </a:lnTo>
                <a:lnTo>
                  <a:pt x="71129" y="1223027"/>
                </a:lnTo>
                <a:lnTo>
                  <a:pt x="101028" y="1284927"/>
                </a:lnTo>
                <a:lnTo>
                  <a:pt x="135608" y="1344087"/>
                </a:lnTo>
                <a:lnTo>
                  <a:pt x="174636" y="1400279"/>
                </a:lnTo>
                <a:lnTo>
                  <a:pt x="217880" y="1453279"/>
                </a:lnTo>
                <a:lnTo>
                  <a:pt x="265105" y="1502858"/>
                </a:lnTo>
                <a:lnTo>
                  <a:pt x="316079" y="1548791"/>
                </a:lnTo>
                <a:lnTo>
                  <a:pt x="370570" y="1590850"/>
                </a:lnTo>
                <a:lnTo>
                  <a:pt x="428344" y="1628810"/>
                </a:lnTo>
                <a:lnTo>
                  <a:pt x="489168" y="1662444"/>
                </a:lnTo>
                <a:lnTo>
                  <a:pt x="552810" y="1691525"/>
                </a:lnTo>
                <a:lnTo>
                  <a:pt x="619036" y="1715826"/>
                </a:lnTo>
                <a:lnTo>
                  <a:pt x="687614" y="1735122"/>
                </a:lnTo>
                <a:lnTo>
                  <a:pt x="758310" y="1749185"/>
                </a:lnTo>
                <a:lnTo>
                  <a:pt x="830892" y="1757789"/>
                </a:lnTo>
                <a:lnTo>
                  <a:pt x="905126" y="1760707"/>
                </a:lnTo>
                <a:lnTo>
                  <a:pt x="979361" y="1757789"/>
                </a:lnTo>
                <a:lnTo>
                  <a:pt x="1051942" y="1749185"/>
                </a:lnTo>
                <a:lnTo>
                  <a:pt x="1122639" y="1735122"/>
                </a:lnTo>
                <a:lnTo>
                  <a:pt x="1191216" y="1715826"/>
                </a:lnTo>
                <a:lnTo>
                  <a:pt x="1257442" y="1691525"/>
                </a:lnTo>
                <a:lnTo>
                  <a:pt x="1321084" y="1662444"/>
                </a:lnTo>
                <a:lnTo>
                  <a:pt x="1381908" y="1628810"/>
                </a:lnTo>
                <a:lnTo>
                  <a:pt x="1439682" y="1590850"/>
                </a:lnTo>
                <a:lnTo>
                  <a:pt x="1494173" y="1548791"/>
                </a:lnTo>
                <a:lnTo>
                  <a:pt x="1545147" y="1502858"/>
                </a:lnTo>
                <a:lnTo>
                  <a:pt x="1592373" y="1453279"/>
                </a:lnTo>
                <a:lnTo>
                  <a:pt x="1635616" y="1400279"/>
                </a:lnTo>
                <a:lnTo>
                  <a:pt x="1674644" y="1344087"/>
                </a:lnTo>
                <a:lnTo>
                  <a:pt x="1709224" y="1284927"/>
                </a:lnTo>
                <a:lnTo>
                  <a:pt x="1739123" y="1223027"/>
                </a:lnTo>
                <a:lnTo>
                  <a:pt x="1764109" y="1158614"/>
                </a:lnTo>
                <a:lnTo>
                  <a:pt x="1783947" y="1091913"/>
                </a:lnTo>
                <a:lnTo>
                  <a:pt x="1798406" y="1023151"/>
                </a:lnTo>
                <a:lnTo>
                  <a:pt x="1807252" y="952556"/>
                </a:lnTo>
                <a:lnTo>
                  <a:pt x="1810252" y="880353"/>
                </a:lnTo>
                <a:lnTo>
                  <a:pt x="1807252" y="808151"/>
                </a:lnTo>
                <a:lnTo>
                  <a:pt x="1798406" y="737555"/>
                </a:lnTo>
                <a:lnTo>
                  <a:pt x="1783947" y="668794"/>
                </a:lnTo>
                <a:lnTo>
                  <a:pt x="1764109" y="602094"/>
                </a:lnTo>
                <a:lnTo>
                  <a:pt x="1739123" y="537680"/>
                </a:lnTo>
                <a:lnTo>
                  <a:pt x="1709224" y="475780"/>
                </a:lnTo>
                <a:lnTo>
                  <a:pt x="1674644" y="416621"/>
                </a:lnTo>
                <a:lnTo>
                  <a:pt x="1635616" y="360428"/>
                </a:lnTo>
                <a:lnTo>
                  <a:pt x="1592373" y="307429"/>
                </a:lnTo>
                <a:lnTo>
                  <a:pt x="1545147" y="257849"/>
                </a:lnTo>
                <a:lnTo>
                  <a:pt x="1494173" y="211917"/>
                </a:lnTo>
                <a:lnTo>
                  <a:pt x="1439682" y="169857"/>
                </a:lnTo>
                <a:lnTo>
                  <a:pt x="1381908" y="131897"/>
                </a:lnTo>
                <a:lnTo>
                  <a:pt x="1321084" y="98263"/>
                </a:lnTo>
                <a:lnTo>
                  <a:pt x="1257442" y="69182"/>
                </a:lnTo>
                <a:lnTo>
                  <a:pt x="1191216" y="44881"/>
                </a:lnTo>
                <a:lnTo>
                  <a:pt x="1122639" y="25585"/>
                </a:lnTo>
                <a:lnTo>
                  <a:pt x="1051942" y="11522"/>
                </a:lnTo>
                <a:lnTo>
                  <a:pt x="979361" y="2918"/>
                </a:lnTo>
                <a:lnTo>
                  <a:pt x="905126" y="0"/>
                </a:lnTo>
                <a:lnTo>
                  <a:pt x="830892" y="2918"/>
                </a:lnTo>
                <a:lnTo>
                  <a:pt x="758310" y="11522"/>
                </a:lnTo>
                <a:lnTo>
                  <a:pt x="687614" y="25585"/>
                </a:lnTo>
                <a:lnTo>
                  <a:pt x="619036" y="44881"/>
                </a:lnTo>
                <a:lnTo>
                  <a:pt x="552810" y="69182"/>
                </a:lnTo>
                <a:lnTo>
                  <a:pt x="489168" y="98263"/>
                </a:lnTo>
                <a:lnTo>
                  <a:pt x="428344" y="131897"/>
                </a:lnTo>
                <a:lnTo>
                  <a:pt x="370570" y="169857"/>
                </a:lnTo>
                <a:lnTo>
                  <a:pt x="316079" y="211917"/>
                </a:lnTo>
                <a:lnTo>
                  <a:pt x="265105" y="257849"/>
                </a:lnTo>
                <a:lnTo>
                  <a:pt x="217880" y="307429"/>
                </a:lnTo>
                <a:lnTo>
                  <a:pt x="174636" y="360428"/>
                </a:lnTo>
                <a:lnTo>
                  <a:pt x="135608" y="416621"/>
                </a:lnTo>
                <a:lnTo>
                  <a:pt x="101028" y="475780"/>
                </a:lnTo>
                <a:lnTo>
                  <a:pt x="71129" y="537680"/>
                </a:lnTo>
                <a:lnTo>
                  <a:pt x="46143" y="602094"/>
                </a:lnTo>
                <a:lnTo>
                  <a:pt x="26305" y="668794"/>
                </a:lnTo>
                <a:lnTo>
                  <a:pt x="11846" y="737555"/>
                </a:lnTo>
                <a:lnTo>
                  <a:pt x="3000" y="808151"/>
                </a:lnTo>
                <a:lnTo>
                  <a:pt x="0" y="880353"/>
                </a:lnTo>
                <a:close/>
              </a:path>
            </a:pathLst>
          </a:custGeom>
          <a:solidFill>
            <a:srgbClr val="83984F">
              <a:alpha val="5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7" name="Group 12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0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31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If there is a point that does not have </a:t>
            </a:r>
            <a:r>
              <a:rPr lang="en-US" sz="3200" i="1" baseline="1137" dirty="0" err="1" smtClean="0">
                <a:solidFill>
                  <a:srgbClr val="7F7E7E"/>
                </a:solidFill>
                <a:cs typeface="Calibri"/>
              </a:rPr>
              <a:t>n_clu</a:t>
            </a:r>
            <a:r>
              <a:rPr lang="en-US" sz="3200" i="1" baseline="1137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eighbors and is not reached from a core point: It is a </a:t>
            </a:r>
            <a:r>
              <a:rPr lang="en-US" sz="3200" b="1" baseline="1137" dirty="0" smtClean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point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4" name="object 5"/>
          <p:cNvSpPr txBox="1"/>
          <p:nvPr/>
        </p:nvSpPr>
        <p:spPr>
          <a:xfrm>
            <a:off x="2101916" y="365536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Ta-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­</a:t>
            </a:r>
            <a:r>
              <a:rPr lang="en-US" sz="3200" baseline="1137" dirty="0" err="1" smtClean="0">
                <a:solidFill>
                  <a:srgbClr val="7F7E7E"/>
                </a:solidFill>
                <a:cs typeface="Calibri"/>
              </a:rPr>
              <a:t>daa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! Notice the core points, density-reachable points 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(at the borders) and the </a:t>
            </a:r>
            <a:r>
              <a:rPr lang="en-US" sz="3200" b="1" baseline="1137" dirty="0" smtClean="0">
                <a:solidFill>
                  <a:srgbClr val="7F7E7E"/>
                </a:solidFill>
                <a:cs typeface="Calibri"/>
              </a:rPr>
              <a:t>noise</a:t>
            </a: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 point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3</a:t>
            </a:r>
            <a:endParaRPr sz="1800"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spc="0" baseline="1517" dirty="0" smtClean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1.75</a:t>
            </a:r>
            <a:endParaRPr sz="1800" dirty="0"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n_clu = </a:t>
            </a:r>
            <a:r>
              <a:rPr lang="en-US" sz="2700" spc="0" baseline="1517" dirty="0" smtClean="0">
                <a:solidFill>
                  <a:srgbClr val="C00000"/>
                </a:solidFill>
                <a:latin typeface="+mj-lt"/>
                <a:cs typeface="Calibri"/>
              </a:rPr>
              <a:t>1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6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2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5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chemeClr val="tx1"/>
          </a:solidFill>
          <a:ln w="28575"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4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25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1.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00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5"/>
          <p:cNvSpPr txBox="1"/>
          <p:nvPr/>
        </p:nvSpPr>
        <p:spPr>
          <a:xfrm>
            <a:off x="2101916" y="365536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DBSC</a:t>
            </a:r>
            <a:r>
              <a:rPr sz="4800" spc="-4" baseline="2560" dirty="0" smtClean="0">
                <a:solidFill>
                  <a:srgbClr val="4E81BC"/>
                </a:solidFill>
                <a:latin typeface="+mj-lt"/>
                <a:cs typeface="Calibri"/>
              </a:rPr>
              <a:t>A</a:t>
            </a:r>
            <a:r>
              <a:rPr sz="4800" spc="0" baseline="2560" dirty="0" smtClean="0">
                <a:solidFill>
                  <a:srgbClr val="4E81BC"/>
                </a:solidFill>
                <a:latin typeface="+mj-lt"/>
                <a:cs typeface="Calibri"/>
              </a:rPr>
              <a:t>N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he effect of the parameters</a:t>
            </a:r>
            <a:endParaRPr lang="en-US" sz="3200" i="1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8" name="object 15"/>
          <p:cNvSpPr txBox="1"/>
          <p:nvPr/>
        </p:nvSpPr>
        <p:spPr>
          <a:xfrm>
            <a:off x="349882" y="365536"/>
            <a:ext cx="1351013" cy="520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85"/>
              </a:lnSpc>
              <a:spcBef>
                <a:spcPts val="99"/>
              </a:spcBef>
            </a:pPr>
            <a:r>
              <a:rPr sz="2700" spc="0" baseline="3034" dirty="0" smtClean="0">
                <a:solidFill>
                  <a:srgbClr val="215867"/>
                </a:solidFill>
                <a:latin typeface="+mj-lt"/>
                <a:cs typeface="Calibri"/>
              </a:rPr>
              <a:t>epsilon = </a:t>
            </a:r>
            <a:r>
              <a:rPr lang="en-US" sz="2700" spc="0" baseline="3034" dirty="0" smtClean="0">
                <a:solidFill>
                  <a:srgbClr val="C00000"/>
                </a:solidFill>
                <a:latin typeface="+mj-lt"/>
                <a:cs typeface="Calibri"/>
              </a:rPr>
              <a:t>3.50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  <a:p>
            <a:pPr marL="12700" marR="34289">
              <a:lnSpc>
                <a:spcPts val="2100"/>
              </a:lnSpc>
              <a:spcBef>
                <a:spcPts val="5"/>
              </a:spcBef>
            </a:pPr>
            <a:r>
              <a:rPr sz="2700" spc="0" baseline="1517" dirty="0" err="1" smtClean="0">
                <a:solidFill>
                  <a:srgbClr val="215867"/>
                </a:solidFill>
                <a:latin typeface="+mj-lt"/>
                <a:cs typeface="Calibri"/>
              </a:rPr>
              <a:t>n_clu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=</a:t>
            </a:r>
            <a:r>
              <a:rPr lang="en-US"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3</a:t>
            </a:r>
            <a:r>
              <a:rPr sz="2700" spc="0" baseline="1517" dirty="0" smtClean="0">
                <a:solidFill>
                  <a:srgbClr val="215867"/>
                </a:solidFill>
                <a:latin typeface="+mj-lt"/>
                <a:cs typeface="Calibri"/>
              </a:rPr>
              <a:t> </a:t>
            </a:r>
            <a:endParaRPr sz="1800" dirty="0">
              <a:solidFill>
                <a:srgbClr val="C00000"/>
              </a:solidFill>
              <a:latin typeface="+mj-lt"/>
              <a:cs typeface="Calibri"/>
            </a:endParaRPr>
          </a:p>
        </p:txBody>
      </p:sp>
      <p:sp>
        <p:nvSpPr>
          <p:cNvPr id="89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8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9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Find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next closet pair, merge</a:t>
            </a:r>
            <a:endParaRPr sz="32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6" y="2209800"/>
            <a:ext cx="8005713" cy="4231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3600" b="1" spc="-4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3600" spc="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3600" b="1" spc="4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3600" b="1" spc="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3600" spc="0" dirty="0" smtClean="0">
                <a:solidFill>
                  <a:srgbClr val="9BBA58"/>
                </a:solidFill>
                <a:latin typeface="+mj-lt"/>
                <a:cs typeface="Calibri"/>
              </a:rPr>
              <a:t>DBSC</a:t>
            </a:r>
            <a:r>
              <a:rPr sz="3600" spc="-4" dirty="0" smtClean="0">
                <a:solidFill>
                  <a:srgbClr val="9BBA58"/>
                </a:solidFill>
                <a:latin typeface="+mj-lt"/>
                <a:cs typeface="Calibri"/>
              </a:rPr>
              <a:t>A</a:t>
            </a:r>
            <a:r>
              <a:rPr sz="3600" spc="0" dirty="0" smtClean="0">
                <a:solidFill>
                  <a:srgbClr val="9BBA58"/>
                </a:solidFill>
                <a:latin typeface="+mj-lt"/>
                <a:cs typeface="Calibri"/>
              </a:rPr>
              <a:t>N</a:t>
            </a:r>
            <a:endParaRPr sz="36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3352800"/>
            <a:ext cx="8005713" cy="3556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DBSC</a:t>
            </a:r>
            <a:r>
              <a:rPr sz="3600" spc="-4" baseline="2100" dirty="0" smtClean="0">
                <a:solidFill>
                  <a:srgbClr val="7F7E7E"/>
                </a:solidFill>
                <a:latin typeface="+mj-lt"/>
                <a:cs typeface="Calibri"/>
              </a:rPr>
              <a:t>A</a:t>
            </a:r>
            <a:r>
              <a:rPr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N( eps = 0.5, min_samples = 5, metric =“euclidean” )</a:t>
            </a:r>
            <a:r>
              <a:rPr lang="en-US" sz="3600" spc="0" baseline="210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3600" dirty="0"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14804"/>
          </a:xfrm>
          <a:prstGeom prst="rect">
            <a:avLst/>
          </a:prstGeom>
          <a:blipFill>
            <a:blip r:embed="rId2" cstate="print"/>
            <a:srcRect/>
            <a:stretch>
              <a:fillRect b="-5002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16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Mean </a:t>
            </a: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Shift</a:t>
            </a:r>
            <a:endParaRPr lang="en-US" sz="6600" baseline="3103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1236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482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7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ct 1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816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tart with a centroid at a point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8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016854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2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2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61" name="object 69"/>
          <p:cNvSpPr/>
          <p:nvPr/>
        </p:nvSpPr>
        <p:spPr>
          <a:xfrm>
            <a:off x="5016854" y="159327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69"/>
          <p:cNvSpPr/>
          <p:nvPr/>
        </p:nvSpPr>
        <p:spPr>
          <a:xfrm>
            <a:off x="5148028" y="182970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42123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342566" y="211140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ample local density, follow gradient towards denser direction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451339" y="2326186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Found local density maximum! Stop</a:t>
            </a:r>
            <a:r>
              <a:rPr lang="en-US" sz="3200" baseline="1137" dirty="0">
                <a:solidFill>
                  <a:srgbClr val="7F7E7E"/>
                </a:solidFill>
                <a:latin typeface="+mj-lt"/>
                <a:cs typeface="Calibri"/>
              </a:rPr>
              <a:t>.</a:t>
            </a: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8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latin typeface="+mj-lt"/>
                <a:cs typeface="Calibri"/>
              </a:rPr>
              <a:t>Start at another point.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9"/>
          <p:cNvSpPr/>
          <p:nvPr/>
        </p:nvSpPr>
        <p:spPr>
          <a:xfrm>
            <a:off x="6119576" y="302990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2101916" y="3696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6019800" y="29718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5715638" y="2819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535908" y="263992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530888" y="253067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8983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6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the same (close) local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29937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tart at another point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2569374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2790181" y="505023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035298" y="4960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295546" y="4626400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381593" y="4324298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5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050637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Sample local density, follow gradient towards denser direction</a:t>
            </a: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598970" y="3989584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local maximum. Stop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.</a:t>
            </a:r>
          </a:p>
        </p:txBody>
      </p:sp>
      <p:sp>
        <p:nvSpPr>
          <p:cNvPr id="9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tart at another point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676856" y="3139125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earch for local density maximum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676856" y="295182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Search for local density maximum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556291" y="278811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same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542906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Found same maximum, same cluster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9"/>
          <p:cNvSpPr/>
          <p:nvPr/>
        </p:nvSpPr>
        <p:spPr>
          <a:xfrm>
            <a:off x="5542906" y="256428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Keep going like this, eventually it finds four unique local maxima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0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6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10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Assigns points to centroids they fall to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0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95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Mean </a:t>
            </a: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hift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 cluster number or distance parameters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2" name="object 69"/>
          <p:cNvSpPr/>
          <p:nvPr/>
        </p:nvSpPr>
        <p:spPr>
          <a:xfrm>
            <a:off x="5482207" y="249325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59B9D0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9"/>
          <p:cNvSpPr/>
          <p:nvPr/>
        </p:nvSpPr>
        <p:spPr>
          <a:xfrm>
            <a:off x="3681884" y="3841353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CD665F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5367302" y="5040942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AAC56C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9"/>
          <p:cNvSpPr/>
          <p:nvPr/>
        </p:nvSpPr>
        <p:spPr>
          <a:xfrm>
            <a:off x="6923591" y="2055341"/>
            <a:ext cx="565019" cy="625840"/>
          </a:xfrm>
          <a:custGeom>
            <a:avLst/>
            <a:gdLst/>
            <a:ahLst/>
            <a:cxnLst/>
            <a:rect l="l" t="t" r="r" b="b"/>
            <a:pathLst>
              <a:path w="565019" h="625840">
                <a:moveTo>
                  <a:pt x="0" y="0"/>
                </a:moveTo>
                <a:lnTo>
                  <a:pt x="0" y="625840"/>
                </a:lnTo>
                <a:lnTo>
                  <a:pt x="565019" y="625840"/>
                </a:lnTo>
                <a:lnTo>
                  <a:pt x="5650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2101916" y="369650"/>
            <a:ext cx="5438288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lvl="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Remember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K-</a:t>
            </a:r>
            <a:r>
              <a:rPr lang="en-US"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­Means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?</a:t>
            </a:r>
            <a:endParaRPr lang="en-US" sz="3200" dirty="0">
              <a:solidFill>
                <a:prstClr val="black"/>
              </a:solidFill>
              <a:latin typeface="+mj-lt"/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sz="3200" dirty="0">
              <a:latin typeface="+mj-lt"/>
              <a:cs typeface="Calibri"/>
            </a:endParaRPr>
          </a:p>
        </p:txBody>
      </p:sp>
      <p:sp>
        <p:nvSpPr>
          <p:cNvPr id="7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3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671412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7660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604886" y="1905000"/>
            <a:ext cx="8234313" cy="43099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3200" spc="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3200" spc="0" dirty="0" smtClean="0">
                <a:solidFill>
                  <a:srgbClr val="9BBA58"/>
                </a:solidFill>
                <a:cs typeface="Calibri"/>
              </a:rPr>
              <a:t>MeanShi</a:t>
            </a:r>
            <a:r>
              <a:rPr lang="en-US" sz="3200" spc="0" dirty="0" smtClean="0">
                <a:solidFill>
                  <a:srgbClr val="9BBA58"/>
                </a:solidFill>
                <a:cs typeface="Calibri"/>
              </a:rPr>
              <a:t>ft</a:t>
            </a:r>
          </a:p>
        </p:txBody>
      </p:sp>
      <p:sp>
        <p:nvSpPr>
          <p:cNvPr id="5" name="object 2"/>
          <p:cNvSpPr txBox="1"/>
          <p:nvPr/>
        </p:nvSpPr>
        <p:spPr>
          <a:xfrm>
            <a:off x="604887" y="2661903"/>
            <a:ext cx="7548513" cy="3556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r>
              <a:rPr sz="3200" baseline="2100" dirty="0" smtClean="0">
                <a:solidFill>
                  <a:srgbClr val="7F7E7E"/>
                </a:solidFill>
                <a:cs typeface="Calibri"/>
              </a:rPr>
              <a:t>MeanShi</a:t>
            </a:r>
            <a:r>
              <a:rPr lang="en-US" sz="3200" baseline="2100" dirty="0" smtClean="0">
                <a:solidFill>
                  <a:srgbClr val="7F7E7E"/>
                </a:solidFill>
                <a:cs typeface="Calibri"/>
              </a:rPr>
              <a:t>ft</a:t>
            </a:r>
            <a:r>
              <a:rPr sz="3200" baseline="2100" dirty="0" smtClean="0">
                <a:solidFill>
                  <a:srgbClr val="7F7E7E"/>
                </a:solidFill>
                <a:cs typeface="Calibri"/>
              </a:rPr>
              <a:t>()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00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234938"/>
          </a:xfrm>
          <a:prstGeom prst="rect">
            <a:avLst/>
          </a:prstGeom>
          <a:blipFill>
            <a:blip r:embed="rId2" cstate="print"/>
            <a:srcRect/>
            <a:stretch>
              <a:fillRect t="1" b="-3524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22090"/>
            <a:ext cx="7593972" cy="1223839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dirty="0">
                <a:solidFill>
                  <a:srgbClr val="F69545"/>
                </a:solidFill>
                <a:cs typeface="Calibri"/>
              </a:rPr>
              <a:t>Spectral Clustering</a:t>
            </a:r>
          </a:p>
          <a:p>
            <a:pPr marL="12700" algn="ctr">
              <a:lnSpc>
                <a:spcPts val="4600"/>
              </a:lnSpc>
              <a:spcBef>
                <a:spcPts val="230"/>
              </a:spcBef>
            </a:pPr>
            <a:r>
              <a:rPr lang="en-US" sz="6600" baseline="1861" smtClean="0">
                <a:solidFill>
                  <a:srgbClr val="F69545"/>
                </a:solidFill>
                <a:cs typeface="Calibri"/>
              </a:rPr>
              <a:t>“kernel </a:t>
            </a:r>
            <a:r>
              <a:rPr lang="en-US" sz="6600" baseline="1861">
                <a:solidFill>
                  <a:srgbClr val="F69545"/>
                </a:solidFill>
                <a:cs typeface="Calibri"/>
              </a:rPr>
              <a:t>k</a:t>
            </a:r>
            <a:r>
              <a:rPr lang="en-US" sz="6600" baseline="1861" smtClean="0">
                <a:solidFill>
                  <a:srgbClr val="F69545"/>
                </a:solidFill>
                <a:cs typeface="Calibri"/>
              </a:rPr>
              <a:t>-means</a:t>
            </a:r>
            <a:r>
              <a:rPr lang="en-US" sz="6600" baseline="1861" smtClean="0">
                <a:solidFill>
                  <a:srgbClr val="F69545"/>
                </a:solidFill>
                <a:cs typeface="Calibri"/>
              </a:rPr>
              <a:t>”</a:t>
            </a:r>
            <a:endParaRPr lang="en-US" sz="6600" baseline="1861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1336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lang="en-US" sz="3200" baseline="1137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4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ct 8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486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5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1" name="Straight Arrow Connector 90"/>
          <p:cNvCxnSpPr/>
          <p:nvPr/>
        </p:nvCxnSpPr>
        <p:spPr>
          <a:xfrm flipV="1">
            <a:off x="2398534" y="1981200"/>
            <a:ext cx="1716266" cy="39520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117" name="object 53"/>
          <p:cNvSpPr/>
          <p:nvPr/>
        </p:nvSpPr>
        <p:spPr>
          <a:xfrm>
            <a:off x="2668468" y="54624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4326962" y="39471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9"/>
          <p:cNvSpPr/>
          <p:nvPr/>
        </p:nvSpPr>
        <p:spPr>
          <a:xfrm>
            <a:off x="3496571" y="4868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2989197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3528670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grpSp>
        <p:nvGrpSpPr>
          <p:cNvPr id="142" name="Group 141"/>
          <p:cNvGrpSpPr/>
          <p:nvPr/>
        </p:nvGrpSpPr>
        <p:grpSpPr>
          <a:xfrm>
            <a:off x="3336206" y="4921685"/>
            <a:ext cx="3262817" cy="947078"/>
            <a:chOff x="3336206" y="4921685"/>
            <a:chExt cx="3262817" cy="947078"/>
          </a:xfrm>
        </p:grpSpPr>
        <p:sp>
          <p:nvSpPr>
            <p:cNvPr id="75" name="object 82"/>
            <p:cNvSpPr/>
            <p:nvPr/>
          </p:nvSpPr>
          <p:spPr>
            <a:xfrm>
              <a:off x="4414372" y="5487188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6" name="object 84"/>
            <p:cNvSpPr/>
            <p:nvPr/>
          </p:nvSpPr>
          <p:spPr>
            <a:xfrm>
              <a:off x="5399747" y="5521291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5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7" name="object 86"/>
            <p:cNvSpPr/>
            <p:nvPr/>
          </p:nvSpPr>
          <p:spPr>
            <a:xfrm>
              <a:off x="6251551" y="5502337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7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6" y="149182"/>
                  </a:lnTo>
                  <a:lnTo>
                    <a:pt x="320497" y="164255"/>
                  </a:lnTo>
                  <a:lnTo>
                    <a:pt x="320729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4" y="218395"/>
                  </a:lnTo>
                  <a:lnTo>
                    <a:pt x="311328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0" y="282563"/>
                  </a:lnTo>
                  <a:lnTo>
                    <a:pt x="276593" y="293344"/>
                  </a:lnTo>
                  <a:lnTo>
                    <a:pt x="267094" y="303312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8" name="object 63"/>
            <p:cNvSpPr/>
            <p:nvPr/>
          </p:nvSpPr>
          <p:spPr>
            <a:xfrm>
              <a:off x="5880842" y="502152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232" y="183106"/>
                  </a:lnTo>
                  <a:lnTo>
                    <a:pt x="1583" y="198179"/>
                  </a:lnTo>
                  <a:lnTo>
                    <a:pt x="4094" y="212848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6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2"/>
                  </a:lnTo>
                  <a:lnTo>
                    <a:pt x="49876" y="299561"/>
                  </a:lnTo>
                  <a:lnTo>
                    <a:pt x="59830" y="309001"/>
                  </a:lnTo>
                  <a:lnTo>
                    <a:pt x="70485" y="317539"/>
                  </a:lnTo>
                  <a:lnTo>
                    <a:pt x="81788" y="325118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1"/>
                  </a:lnTo>
                  <a:lnTo>
                    <a:pt x="169069" y="347110"/>
                  </a:lnTo>
                  <a:lnTo>
                    <a:pt x="182986" y="345646"/>
                  </a:lnTo>
                  <a:lnTo>
                    <a:pt x="196530" y="342926"/>
                  </a:lnTo>
                  <a:lnTo>
                    <a:pt x="209650" y="339004"/>
                  </a:lnTo>
                  <a:lnTo>
                    <a:pt x="222295" y="333936"/>
                  </a:lnTo>
                  <a:lnTo>
                    <a:pt x="234413" y="327778"/>
                  </a:lnTo>
                  <a:lnTo>
                    <a:pt x="245953" y="320583"/>
                  </a:lnTo>
                  <a:lnTo>
                    <a:pt x="256864" y="312409"/>
                  </a:lnTo>
                  <a:lnTo>
                    <a:pt x="267095" y="303311"/>
                  </a:lnTo>
                  <a:lnTo>
                    <a:pt x="276595" y="293343"/>
                  </a:lnTo>
                  <a:lnTo>
                    <a:pt x="285312" y="282562"/>
                  </a:lnTo>
                  <a:lnTo>
                    <a:pt x="293195" y="271023"/>
                  </a:lnTo>
                  <a:lnTo>
                    <a:pt x="300193" y="258781"/>
                  </a:lnTo>
                  <a:lnTo>
                    <a:pt x="306255" y="245892"/>
                  </a:lnTo>
                  <a:lnTo>
                    <a:pt x="311330" y="232411"/>
                  </a:lnTo>
                  <a:lnTo>
                    <a:pt x="315366" y="218394"/>
                  </a:lnTo>
                  <a:lnTo>
                    <a:pt x="318312" y="203896"/>
                  </a:lnTo>
                  <a:lnTo>
                    <a:pt x="320117" y="188973"/>
                  </a:lnTo>
                  <a:lnTo>
                    <a:pt x="320730" y="173680"/>
                  </a:lnTo>
                  <a:lnTo>
                    <a:pt x="320498" y="164254"/>
                  </a:lnTo>
                  <a:lnTo>
                    <a:pt x="319147" y="149181"/>
                  </a:lnTo>
                  <a:lnTo>
                    <a:pt x="316636" y="134512"/>
                  </a:lnTo>
                  <a:lnTo>
                    <a:pt x="313015" y="120303"/>
                  </a:lnTo>
                  <a:lnTo>
                    <a:pt x="308335" y="106609"/>
                  </a:lnTo>
                  <a:lnTo>
                    <a:pt x="302649" y="93485"/>
                  </a:lnTo>
                  <a:lnTo>
                    <a:pt x="296006" y="80986"/>
                  </a:lnTo>
                  <a:lnTo>
                    <a:pt x="288459" y="69169"/>
                  </a:lnTo>
                  <a:lnTo>
                    <a:pt x="280058" y="58089"/>
                  </a:lnTo>
                  <a:lnTo>
                    <a:pt x="270854" y="47800"/>
                  </a:lnTo>
                  <a:lnTo>
                    <a:pt x="260900" y="38359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2" y="251"/>
                  </a:lnTo>
                  <a:lnTo>
                    <a:pt x="137745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6" y="13424"/>
                  </a:lnTo>
                  <a:lnTo>
                    <a:pt x="86318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49"/>
                  </a:lnTo>
                  <a:lnTo>
                    <a:pt x="44136" y="54017"/>
                  </a:lnTo>
                  <a:lnTo>
                    <a:pt x="35419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8"/>
                  </a:lnTo>
                  <a:lnTo>
                    <a:pt x="5364" y="128965"/>
                  </a:lnTo>
                  <a:lnTo>
                    <a:pt x="2418" y="143463"/>
                  </a:lnTo>
                  <a:lnTo>
                    <a:pt x="613" y="15838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79" name="object 40"/>
            <p:cNvSpPr/>
            <p:nvPr/>
          </p:nvSpPr>
          <p:spPr>
            <a:xfrm>
              <a:off x="5213120" y="4921685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1">
                  <a:moveTo>
                    <a:pt x="0" y="173681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50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5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5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9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29" y="173681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5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80" name="object 28"/>
            <p:cNvSpPr/>
            <p:nvPr/>
          </p:nvSpPr>
          <p:spPr>
            <a:xfrm>
              <a:off x="4877989" y="5328656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30" h="347361">
                  <a:moveTo>
                    <a:pt x="0" y="173680"/>
                  </a:moveTo>
                  <a:lnTo>
                    <a:pt x="613" y="158387"/>
                  </a:lnTo>
                  <a:lnTo>
                    <a:pt x="2418" y="143464"/>
                  </a:lnTo>
                  <a:lnTo>
                    <a:pt x="5364" y="128966"/>
                  </a:lnTo>
                  <a:lnTo>
                    <a:pt x="9400" y="114949"/>
                  </a:lnTo>
                  <a:lnTo>
                    <a:pt x="14475" y="101468"/>
                  </a:lnTo>
                  <a:lnTo>
                    <a:pt x="20537" y="88579"/>
                  </a:lnTo>
                  <a:lnTo>
                    <a:pt x="27535" y="76337"/>
                  </a:lnTo>
                  <a:lnTo>
                    <a:pt x="35418" y="64798"/>
                  </a:lnTo>
                  <a:lnTo>
                    <a:pt x="44135" y="54017"/>
                  </a:lnTo>
                  <a:lnTo>
                    <a:pt x="53635" y="44049"/>
                  </a:lnTo>
                  <a:lnTo>
                    <a:pt x="63866" y="34951"/>
                  </a:lnTo>
                  <a:lnTo>
                    <a:pt x="74777" y="26777"/>
                  </a:lnTo>
                  <a:lnTo>
                    <a:pt x="86317" y="19583"/>
                  </a:lnTo>
                  <a:lnTo>
                    <a:pt x="98435" y="13424"/>
                  </a:lnTo>
                  <a:lnTo>
                    <a:pt x="111080" y="8356"/>
                  </a:lnTo>
                  <a:lnTo>
                    <a:pt x="124200" y="4434"/>
                  </a:lnTo>
                  <a:lnTo>
                    <a:pt x="137744" y="1714"/>
                  </a:lnTo>
                  <a:lnTo>
                    <a:pt x="151661" y="251"/>
                  </a:lnTo>
                  <a:lnTo>
                    <a:pt x="160364" y="0"/>
                  </a:lnTo>
                  <a:lnTo>
                    <a:pt x="174485" y="664"/>
                  </a:lnTo>
                  <a:lnTo>
                    <a:pt x="188264" y="2619"/>
                  </a:lnTo>
                  <a:lnTo>
                    <a:pt x="201651" y="5810"/>
                  </a:lnTo>
                  <a:lnTo>
                    <a:pt x="214593" y="10181"/>
                  </a:lnTo>
                  <a:lnTo>
                    <a:pt x="227040" y="15677"/>
                  </a:lnTo>
                  <a:lnTo>
                    <a:pt x="238941" y="22242"/>
                  </a:lnTo>
                  <a:lnTo>
                    <a:pt x="250244" y="29822"/>
                  </a:lnTo>
                  <a:lnTo>
                    <a:pt x="260899" y="38359"/>
                  </a:lnTo>
                  <a:lnTo>
                    <a:pt x="270853" y="47800"/>
                  </a:lnTo>
                  <a:lnTo>
                    <a:pt x="280057" y="58088"/>
                  </a:lnTo>
                  <a:lnTo>
                    <a:pt x="288458" y="69169"/>
                  </a:lnTo>
                  <a:lnTo>
                    <a:pt x="296005" y="80986"/>
                  </a:lnTo>
                  <a:lnTo>
                    <a:pt x="302648" y="93485"/>
                  </a:lnTo>
                  <a:lnTo>
                    <a:pt x="308334" y="106609"/>
                  </a:lnTo>
                  <a:lnTo>
                    <a:pt x="313014" y="120303"/>
                  </a:lnTo>
                  <a:lnTo>
                    <a:pt x="316635" y="134513"/>
                  </a:lnTo>
                  <a:lnTo>
                    <a:pt x="319147" y="149182"/>
                  </a:lnTo>
                  <a:lnTo>
                    <a:pt x="320497" y="164254"/>
                  </a:lnTo>
                  <a:lnTo>
                    <a:pt x="320730" y="173680"/>
                  </a:lnTo>
                  <a:lnTo>
                    <a:pt x="320116" y="188974"/>
                  </a:lnTo>
                  <a:lnTo>
                    <a:pt x="318311" y="203897"/>
                  </a:lnTo>
                  <a:lnTo>
                    <a:pt x="315365" y="218395"/>
                  </a:lnTo>
                  <a:lnTo>
                    <a:pt x="311329" y="232412"/>
                  </a:lnTo>
                  <a:lnTo>
                    <a:pt x="306254" y="245893"/>
                  </a:lnTo>
                  <a:lnTo>
                    <a:pt x="300192" y="258782"/>
                  </a:lnTo>
                  <a:lnTo>
                    <a:pt x="293194" y="271024"/>
                  </a:lnTo>
                  <a:lnTo>
                    <a:pt x="285311" y="282563"/>
                  </a:lnTo>
                  <a:lnTo>
                    <a:pt x="276594" y="293344"/>
                  </a:lnTo>
                  <a:lnTo>
                    <a:pt x="267094" y="303311"/>
                  </a:lnTo>
                  <a:lnTo>
                    <a:pt x="256863" y="312410"/>
                  </a:lnTo>
                  <a:lnTo>
                    <a:pt x="245952" y="320584"/>
                  </a:lnTo>
                  <a:lnTo>
                    <a:pt x="234412" y="327778"/>
                  </a:lnTo>
                  <a:lnTo>
                    <a:pt x="222294" y="333937"/>
                  </a:lnTo>
                  <a:lnTo>
                    <a:pt x="209649" y="339005"/>
                  </a:lnTo>
                  <a:lnTo>
                    <a:pt x="196529" y="342927"/>
                  </a:lnTo>
                  <a:lnTo>
                    <a:pt x="182985" y="345647"/>
                  </a:lnTo>
                  <a:lnTo>
                    <a:pt x="169068" y="347110"/>
                  </a:lnTo>
                  <a:lnTo>
                    <a:pt x="160364" y="347361"/>
                  </a:lnTo>
                  <a:lnTo>
                    <a:pt x="146244" y="346697"/>
                  </a:lnTo>
                  <a:lnTo>
                    <a:pt x="132465" y="344742"/>
                  </a:lnTo>
                  <a:lnTo>
                    <a:pt x="119078" y="341551"/>
                  </a:lnTo>
                  <a:lnTo>
                    <a:pt x="106136" y="337180"/>
                  </a:lnTo>
                  <a:lnTo>
                    <a:pt x="93689" y="331684"/>
                  </a:lnTo>
                  <a:lnTo>
                    <a:pt x="81788" y="325119"/>
                  </a:lnTo>
                  <a:lnTo>
                    <a:pt x="70484" y="317539"/>
                  </a:lnTo>
                  <a:lnTo>
                    <a:pt x="59830" y="309002"/>
                  </a:lnTo>
                  <a:lnTo>
                    <a:pt x="49876" y="299561"/>
                  </a:lnTo>
                  <a:lnTo>
                    <a:pt x="40672" y="289272"/>
                  </a:lnTo>
                  <a:lnTo>
                    <a:pt x="32271" y="278192"/>
                  </a:lnTo>
                  <a:lnTo>
                    <a:pt x="24724" y="266375"/>
                  </a:lnTo>
                  <a:lnTo>
                    <a:pt x="18081" y="253876"/>
                  </a:lnTo>
                  <a:lnTo>
                    <a:pt x="12395" y="240752"/>
                  </a:lnTo>
                  <a:lnTo>
                    <a:pt x="7715" y="227058"/>
                  </a:lnTo>
                  <a:lnTo>
                    <a:pt x="4094" y="212848"/>
                  </a:lnTo>
                  <a:lnTo>
                    <a:pt x="1582" y="198179"/>
                  </a:lnTo>
                  <a:lnTo>
                    <a:pt x="232" y="183106"/>
                  </a:lnTo>
                  <a:lnTo>
                    <a:pt x="0" y="173680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69"/>
            <p:cNvSpPr/>
            <p:nvPr/>
          </p:nvSpPr>
          <p:spPr>
            <a:xfrm>
              <a:off x="3336206" y="5487189"/>
              <a:ext cx="347472" cy="347472"/>
            </a:xfrm>
            <a:custGeom>
              <a:avLst/>
              <a:gdLst/>
              <a:ahLst/>
              <a:cxnLst/>
              <a:rect l="l" t="t" r="r" b="b"/>
              <a:pathLst>
                <a:path w="320729" h="347362">
                  <a:moveTo>
                    <a:pt x="0" y="173681"/>
                  </a:moveTo>
                  <a:lnTo>
                    <a:pt x="232" y="183107"/>
                  </a:lnTo>
                  <a:lnTo>
                    <a:pt x="1583" y="198180"/>
                  </a:lnTo>
                  <a:lnTo>
                    <a:pt x="4094" y="212849"/>
                  </a:lnTo>
                  <a:lnTo>
                    <a:pt x="7715" y="227058"/>
                  </a:lnTo>
                  <a:lnTo>
                    <a:pt x="12395" y="240752"/>
                  </a:lnTo>
                  <a:lnTo>
                    <a:pt x="18082" y="253877"/>
                  </a:lnTo>
                  <a:lnTo>
                    <a:pt x="24724" y="266375"/>
                  </a:lnTo>
                  <a:lnTo>
                    <a:pt x="32272" y="278192"/>
                  </a:lnTo>
                  <a:lnTo>
                    <a:pt x="40673" y="289273"/>
                  </a:lnTo>
                  <a:lnTo>
                    <a:pt x="49876" y="299561"/>
                  </a:lnTo>
                  <a:lnTo>
                    <a:pt x="59830" y="309002"/>
                  </a:lnTo>
                  <a:lnTo>
                    <a:pt x="70485" y="317539"/>
                  </a:lnTo>
                  <a:lnTo>
                    <a:pt x="81788" y="325119"/>
                  </a:lnTo>
                  <a:lnTo>
                    <a:pt x="93689" y="331684"/>
                  </a:lnTo>
                  <a:lnTo>
                    <a:pt x="106136" y="337180"/>
                  </a:lnTo>
                  <a:lnTo>
                    <a:pt x="119079" y="341551"/>
                  </a:lnTo>
                  <a:lnTo>
                    <a:pt x="132465" y="344742"/>
                  </a:lnTo>
                  <a:lnTo>
                    <a:pt x="146244" y="346697"/>
                  </a:lnTo>
                  <a:lnTo>
                    <a:pt x="160365" y="347362"/>
                  </a:lnTo>
                  <a:lnTo>
                    <a:pt x="169068" y="347110"/>
                  </a:lnTo>
                  <a:lnTo>
                    <a:pt x="182985" y="345647"/>
                  </a:lnTo>
                  <a:lnTo>
                    <a:pt x="196529" y="342927"/>
                  </a:lnTo>
                  <a:lnTo>
                    <a:pt x="209649" y="339005"/>
                  </a:lnTo>
                  <a:lnTo>
                    <a:pt x="222294" y="333937"/>
                  </a:lnTo>
                  <a:lnTo>
                    <a:pt x="234412" y="327778"/>
                  </a:lnTo>
                  <a:lnTo>
                    <a:pt x="245952" y="320584"/>
                  </a:lnTo>
                  <a:lnTo>
                    <a:pt x="256863" y="312410"/>
                  </a:lnTo>
                  <a:lnTo>
                    <a:pt x="267094" y="303312"/>
                  </a:lnTo>
                  <a:lnTo>
                    <a:pt x="276594" y="293344"/>
                  </a:lnTo>
                  <a:lnTo>
                    <a:pt x="285310" y="282563"/>
                  </a:lnTo>
                  <a:lnTo>
                    <a:pt x="293194" y="271024"/>
                  </a:lnTo>
                  <a:lnTo>
                    <a:pt x="300192" y="258782"/>
                  </a:lnTo>
                  <a:lnTo>
                    <a:pt x="306254" y="245893"/>
                  </a:lnTo>
                  <a:lnTo>
                    <a:pt x="311328" y="232412"/>
                  </a:lnTo>
                  <a:lnTo>
                    <a:pt x="315364" y="218395"/>
                  </a:lnTo>
                  <a:lnTo>
                    <a:pt x="318311" y="203897"/>
                  </a:lnTo>
                  <a:lnTo>
                    <a:pt x="320116" y="188974"/>
                  </a:lnTo>
                  <a:lnTo>
                    <a:pt x="320729" y="173681"/>
                  </a:lnTo>
                  <a:lnTo>
                    <a:pt x="320497" y="164255"/>
                  </a:lnTo>
                  <a:lnTo>
                    <a:pt x="319146" y="149182"/>
                  </a:lnTo>
                  <a:lnTo>
                    <a:pt x="316635" y="134513"/>
                  </a:lnTo>
                  <a:lnTo>
                    <a:pt x="313014" y="120304"/>
                  </a:lnTo>
                  <a:lnTo>
                    <a:pt x="308334" y="106609"/>
                  </a:lnTo>
                  <a:lnTo>
                    <a:pt x="302648" y="93485"/>
                  </a:lnTo>
                  <a:lnTo>
                    <a:pt x="296005" y="80986"/>
                  </a:lnTo>
                  <a:lnTo>
                    <a:pt x="288458" y="69169"/>
                  </a:lnTo>
                  <a:lnTo>
                    <a:pt x="280057" y="58089"/>
                  </a:lnTo>
                  <a:lnTo>
                    <a:pt x="270854" y="47800"/>
                  </a:lnTo>
                  <a:lnTo>
                    <a:pt x="260899" y="38360"/>
                  </a:lnTo>
                  <a:lnTo>
                    <a:pt x="250245" y="29822"/>
                  </a:lnTo>
                  <a:lnTo>
                    <a:pt x="238942" y="22242"/>
                  </a:lnTo>
                  <a:lnTo>
                    <a:pt x="227041" y="15677"/>
                  </a:lnTo>
                  <a:lnTo>
                    <a:pt x="214594" y="10181"/>
                  </a:lnTo>
                  <a:lnTo>
                    <a:pt x="201651" y="5810"/>
                  </a:lnTo>
                  <a:lnTo>
                    <a:pt x="188265" y="2619"/>
                  </a:lnTo>
                  <a:lnTo>
                    <a:pt x="174486" y="664"/>
                  </a:lnTo>
                  <a:lnTo>
                    <a:pt x="160365" y="0"/>
                  </a:lnTo>
                  <a:lnTo>
                    <a:pt x="151661" y="251"/>
                  </a:lnTo>
                  <a:lnTo>
                    <a:pt x="137744" y="1714"/>
                  </a:lnTo>
                  <a:lnTo>
                    <a:pt x="124200" y="4434"/>
                  </a:lnTo>
                  <a:lnTo>
                    <a:pt x="111080" y="8356"/>
                  </a:lnTo>
                  <a:lnTo>
                    <a:pt x="98435" y="13424"/>
                  </a:lnTo>
                  <a:lnTo>
                    <a:pt x="86317" y="19583"/>
                  </a:lnTo>
                  <a:lnTo>
                    <a:pt x="74777" y="26777"/>
                  </a:lnTo>
                  <a:lnTo>
                    <a:pt x="63866" y="34951"/>
                  </a:lnTo>
                  <a:lnTo>
                    <a:pt x="53635" y="44050"/>
                  </a:lnTo>
                  <a:lnTo>
                    <a:pt x="44135" y="54017"/>
                  </a:lnTo>
                  <a:lnTo>
                    <a:pt x="35418" y="64798"/>
                  </a:lnTo>
                  <a:lnTo>
                    <a:pt x="27535" y="76337"/>
                  </a:lnTo>
                  <a:lnTo>
                    <a:pt x="20537" y="88579"/>
                  </a:lnTo>
                  <a:lnTo>
                    <a:pt x="14475" y="101468"/>
                  </a:lnTo>
                  <a:lnTo>
                    <a:pt x="9400" y="114949"/>
                  </a:lnTo>
                  <a:lnTo>
                    <a:pt x="5364" y="128966"/>
                  </a:lnTo>
                  <a:lnTo>
                    <a:pt x="2418" y="143464"/>
                  </a:lnTo>
                  <a:lnTo>
                    <a:pt x="613" y="158387"/>
                  </a:lnTo>
                  <a:lnTo>
                    <a:pt x="0" y="173681"/>
                  </a:lnTo>
                  <a:close/>
                </a:path>
              </a:pathLst>
            </a:custGeom>
            <a:solidFill>
              <a:srgbClr val="937AB1"/>
            </a:solidFill>
            <a:ln w="28575">
              <a:solidFill>
                <a:srgbClr val="6F5B88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3" name="object 72"/>
          <p:cNvSpPr/>
          <p:nvPr/>
        </p:nvSpPr>
        <p:spPr>
          <a:xfrm>
            <a:off x="4009764" y="44386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6280095" y="38556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5902602" y="40432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5074440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7032365" y="40005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7385165" y="417424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1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7727248" y="32099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8"/>
          <p:cNvSpPr/>
          <p:nvPr/>
        </p:nvSpPr>
        <p:spPr>
          <a:xfrm>
            <a:off x="6553321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6711636" y="35307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7841227" y="3773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5799001" y="356419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5560113" y="33836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4"/>
          <p:cNvSpPr/>
          <p:nvPr/>
        </p:nvSpPr>
        <p:spPr>
          <a:xfrm>
            <a:off x="7192732" y="32992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4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2"/>
          <p:cNvSpPr/>
          <p:nvPr/>
        </p:nvSpPr>
        <p:spPr>
          <a:xfrm>
            <a:off x="5038354" y="36819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0"/>
          <p:cNvSpPr/>
          <p:nvPr/>
        </p:nvSpPr>
        <p:spPr>
          <a:xfrm>
            <a:off x="7224802" y="21862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"/>
          <p:cNvSpPr/>
          <p:nvPr/>
        </p:nvSpPr>
        <p:spPr>
          <a:xfrm>
            <a:off x="5533851" y="40293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2398534" y="3200400"/>
            <a:ext cx="3162058" cy="2732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6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9"/>
          <p:cNvSpPr/>
          <p:nvPr/>
        </p:nvSpPr>
        <p:spPr>
          <a:xfrm>
            <a:off x="3336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2989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0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2"/>
          <p:cNvSpPr/>
          <p:nvPr/>
        </p:nvSpPr>
        <p:spPr>
          <a:xfrm>
            <a:off x="5198720" y="45743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6904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6"/>
          <p:cNvSpPr/>
          <p:nvPr/>
        </p:nvSpPr>
        <p:spPr>
          <a:xfrm>
            <a:off x="4326962" y="47451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3849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1"/>
          <p:cNvSpPr/>
          <p:nvPr/>
        </p:nvSpPr>
        <p:spPr>
          <a:xfrm>
            <a:off x="4753710" y="4571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4647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8"/>
          <p:cNvSpPr/>
          <p:nvPr/>
        </p:nvSpPr>
        <p:spPr>
          <a:xfrm>
            <a:off x="3496571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5359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7171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8"/>
          <p:cNvSpPr/>
          <p:nvPr/>
        </p:nvSpPr>
        <p:spPr>
          <a:xfrm>
            <a:off x="5560113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2"/>
          <p:cNvSpPr/>
          <p:nvPr/>
        </p:nvSpPr>
        <p:spPr>
          <a:xfrm>
            <a:off x="5581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6"/>
          <p:cNvSpPr/>
          <p:nvPr/>
        </p:nvSpPr>
        <p:spPr>
          <a:xfrm>
            <a:off x="3970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9"/>
          <p:cNvSpPr/>
          <p:nvPr/>
        </p:nvSpPr>
        <p:spPr>
          <a:xfrm>
            <a:off x="4006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1"/>
          <p:cNvSpPr/>
          <p:nvPr/>
        </p:nvSpPr>
        <p:spPr>
          <a:xfrm>
            <a:off x="6361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6302027" y="479246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6201572" y="46030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6"/>
          <p:cNvSpPr/>
          <p:nvPr/>
        </p:nvSpPr>
        <p:spPr>
          <a:xfrm>
            <a:off x="7727248" y="42241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1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2"/>
          <p:cNvSpPr/>
          <p:nvPr/>
        </p:nvSpPr>
        <p:spPr>
          <a:xfrm>
            <a:off x="6622759" y="39083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"/>
          <p:cNvSpPr/>
          <p:nvPr/>
        </p:nvSpPr>
        <p:spPr>
          <a:xfrm>
            <a:off x="6711636" y="42556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0"/>
          <p:cNvSpPr/>
          <p:nvPr/>
        </p:nvSpPr>
        <p:spPr>
          <a:xfrm>
            <a:off x="7841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"/>
          <p:cNvSpPr/>
          <p:nvPr/>
        </p:nvSpPr>
        <p:spPr>
          <a:xfrm>
            <a:off x="7192732" y="37393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/>
          <p:nvPr/>
        </p:nvSpPr>
        <p:spPr>
          <a:xfrm>
            <a:off x="7224802" y="46741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3"/>
          <p:cNvSpPr/>
          <p:nvPr/>
        </p:nvSpPr>
        <p:spPr>
          <a:xfrm>
            <a:off x="6201572" y="35657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5"/>
                </a:lnTo>
                <a:lnTo>
                  <a:pt x="24723" y="266374"/>
                </a:lnTo>
                <a:lnTo>
                  <a:pt x="32271" y="278191"/>
                </a:lnTo>
                <a:lnTo>
                  <a:pt x="40671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3" y="317539"/>
                </a:lnTo>
                <a:lnTo>
                  <a:pt x="81787" y="325118"/>
                </a:lnTo>
                <a:lnTo>
                  <a:pt x="93687" y="331683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8" y="342927"/>
                </a:lnTo>
                <a:lnTo>
                  <a:pt x="209648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2" y="312410"/>
                </a:lnTo>
                <a:lnTo>
                  <a:pt x="267093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8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1"/>
                </a:lnTo>
                <a:lnTo>
                  <a:pt x="238940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3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5" y="34951"/>
                </a:lnTo>
                <a:lnTo>
                  <a:pt x="53634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Straight Arrow Connector 72"/>
          <p:cNvCxnSpPr/>
          <p:nvPr/>
        </p:nvCxnSpPr>
        <p:spPr>
          <a:xfrm flipV="1">
            <a:off x="2398534" y="5021529"/>
            <a:ext cx="4772160" cy="911679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74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4"/>
          <p:cNvSpPr/>
          <p:nvPr/>
        </p:nvSpPr>
        <p:spPr>
          <a:xfrm>
            <a:off x="5239383" y="5790092"/>
            <a:ext cx="347472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4"/>
          <p:cNvSpPr/>
          <p:nvPr/>
        </p:nvSpPr>
        <p:spPr>
          <a:xfrm>
            <a:off x="5169750" y="597950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0"/>
          <p:cNvSpPr/>
          <p:nvPr/>
        </p:nvSpPr>
        <p:spPr>
          <a:xfrm>
            <a:off x="4353225" y="56135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26"/>
          <p:cNvSpPr/>
          <p:nvPr/>
        </p:nvSpPr>
        <p:spPr>
          <a:xfrm>
            <a:off x="7698278" y="5629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8"/>
          <p:cNvSpPr/>
          <p:nvPr/>
        </p:nvSpPr>
        <p:spPr>
          <a:xfrm>
            <a:off x="6593786" y="53135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2"/>
          <p:cNvSpPr/>
          <p:nvPr/>
        </p:nvSpPr>
        <p:spPr>
          <a:xfrm>
            <a:off x="4724741" y="59766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3578489" y="60239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6273057" y="6197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6172602" y="6008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7163764" y="51445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2"/>
          <p:cNvSpPr/>
          <p:nvPr/>
        </p:nvSpPr>
        <p:spPr>
          <a:xfrm>
            <a:off x="553114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4"/>
          <p:cNvSpPr/>
          <p:nvPr/>
        </p:nvSpPr>
        <p:spPr>
          <a:xfrm>
            <a:off x="7195832" y="60793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5"/>
          <p:cNvSpPr/>
          <p:nvPr/>
        </p:nvSpPr>
        <p:spPr>
          <a:xfrm>
            <a:off x="6172602" y="4970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4"/>
          <p:cNvSpPr/>
          <p:nvPr/>
        </p:nvSpPr>
        <p:spPr>
          <a:xfrm>
            <a:off x="3970743" y="50953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2"/>
          <p:cNvSpPr/>
          <p:nvPr/>
        </p:nvSpPr>
        <p:spPr>
          <a:xfrm>
            <a:off x="668266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9"/>
          <p:cNvSpPr/>
          <p:nvPr/>
        </p:nvSpPr>
        <p:spPr>
          <a:xfrm>
            <a:off x="3336206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8"/>
          <p:cNvSpPr/>
          <p:nvPr/>
        </p:nvSpPr>
        <p:spPr>
          <a:xfrm>
            <a:off x="2989197" y="56608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0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6904072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3849401" y="55372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4647693" y="54427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2"/>
          <p:cNvSpPr/>
          <p:nvPr/>
        </p:nvSpPr>
        <p:spPr>
          <a:xfrm>
            <a:off x="5359085" y="513982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7171053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2"/>
          <p:cNvSpPr/>
          <p:nvPr/>
        </p:nvSpPr>
        <p:spPr>
          <a:xfrm>
            <a:off x="5581873" y="533215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69"/>
          <p:cNvSpPr/>
          <p:nvPr/>
        </p:nvSpPr>
        <p:spPr>
          <a:xfrm>
            <a:off x="4006234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1"/>
          <p:cNvSpPr/>
          <p:nvPr/>
        </p:nvSpPr>
        <p:spPr>
          <a:xfrm>
            <a:off x="6361937" y="51978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6" y="299560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8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7" y="347110"/>
                </a:lnTo>
                <a:lnTo>
                  <a:pt x="182984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0"/>
          <p:cNvSpPr/>
          <p:nvPr/>
        </p:nvSpPr>
        <p:spPr>
          <a:xfrm>
            <a:off x="7841227" y="536358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764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2101916" y="369650"/>
            <a:ext cx="6889684" cy="116698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Transform the space into fewer dimensions by taking eigenvectors of the distances matrix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2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(k=3</a:t>
            </a:r>
            <a:r>
              <a:rPr lang="en-US" sz="3200" baseline="1137" dirty="0">
                <a:solidFill>
                  <a:srgbClr val="7F7E7E"/>
                </a:solidFill>
                <a:cs typeface="Calibri"/>
              </a:rPr>
              <a:t>)</a:t>
            </a:r>
          </a:p>
        </p:txBody>
      </p:sp>
      <p:sp>
        <p:nvSpPr>
          <p:cNvPr id="80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74"/>
          <p:cNvSpPr/>
          <p:nvPr/>
        </p:nvSpPr>
        <p:spPr>
          <a:xfrm>
            <a:off x="65076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72961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61739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1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365225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50751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6173977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783543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50"/>
          <p:cNvSpPr/>
          <p:nvPr/>
        </p:nvSpPr>
        <p:spPr>
          <a:xfrm>
            <a:off x="3652253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2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Now perform K‐Means on the low dimension space 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133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object 3"/>
          <p:cNvSpPr txBox="1"/>
          <p:nvPr/>
        </p:nvSpPr>
        <p:spPr>
          <a:xfrm>
            <a:off x="4212239" y="6273889"/>
            <a:ext cx="264576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0.7 Income + 0.3</a:t>
            </a: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 Age</a:t>
            </a:r>
            <a:endParaRPr sz="2400" dirty="0">
              <a:cs typeface="Calibri"/>
            </a:endParaRPr>
          </a:p>
        </p:txBody>
      </p:sp>
      <p:sp>
        <p:nvSpPr>
          <p:cNvPr id="91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6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17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4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18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19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1"/>
          <p:cNvSpPr/>
          <p:nvPr/>
        </p:nvSpPr>
        <p:spPr>
          <a:xfrm>
            <a:off x="5300557" y="587860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23"/>
          <p:cNvSpPr/>
          <p:nvPr/>
        </p:nvSpPr>
        <p:spPr>
          <a:xfrm>
            <a:off x="6361937" y="579347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4"/>
          <p:cNvSpPr/>
          <p:nvPr/>
        </p:nvSpPr>
        <p:spPr>
          <a:xfrm>
            <a:off x="6361936" y="57934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5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8"/>
          <p:cNvSpPr/>
          <p:nvPr/>
        </p:nvSpPr>
        <p:spPr>
          <a:xfrm>
            <a:off x="4557260" y="58683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29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0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290704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4"/>
          <p:cNvSpPr/>
          <p:nvPr/>
        </p:nvSpPr>
        <p:spPr>
          <a:xfrm>
            <a:off x="764801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8001594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3418124" y="57855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3257759" y="588072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7"/>
          <p:cNvSpPr/>
          <p:nvPr/>
        </p:nvSpPr>
        <p:spPr>
          <a:xfrm>
            <a:off x="6091186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8"/>
          <p:cNvSpPr/>
          <p:nvPr/>
        </p:nvSpPr>
        <p:spPr>
          <a:xfrm>
            <a:off x="6091185" y="57621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0"/>
          <p:cNvSpPr/>
          <p:nvPr/>
        </p:nvSpPr>
        <p:spPr>
          <a:xfrm>
            <a:off x="5239383" y="5790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1"/>
          <p:cNvSpPr/>
          <p:nvPr/>
        </p:nvSpPr>
        <p:spPr>
          <a:xfrm>
            <a:off x="7163762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4"/>
          <p:cNvSpPr/>
          <p:nvPr/>
        </p:nvSpPr>
        <p:spPr>
          <a:xfrm>
            <a:off x="5359085" y="585327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6"/>
          <p:cNvSpPr/>
          <p:nvPr/>
        </p:nvSpPr>
        <p:spPr>
          <a:xfrm>
            <a:off x="7171053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7356198" y="58085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2"/>
          <p:cNvSpPr/>
          <p:nvPr/>
        </p:nvSpPr>
        <p:spPr>
          <a:xfrm>
            <a:off x="6172602" y="56843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4"/>
          <p:cNvSpPr/>
          <p:nvPr/>
        </p:nvSpPr>
        <p:spPr>
          <a:xfrm>
            <a:off x="4877989" y="580535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6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5930822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70"/>
          <p:cNvSpPr/>
          <p:nvPr/>
        </p:nvSpPr>
        <p:spPr>
          <a:xfrm>
            <a:off x="3899218" y="582076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74"/>
          <p:cNvSpPr/>
          <p:nvPr/>
        </p:nvSpPr>
        <p:spPr>
          <a:xfrm>
            <a:off x="3578489" y="578724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75"/>
          <p:cNvSpPr/>
          <p:nvPr/>
        </p:nvSpPr>
        <p:spPr>
          <a:xfrm>
            <a:off x="6361937" y="58029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4" y="333937"/>
                </a:lnTo>
                <a:lnTo>
                  <a:pt x="234412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0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60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8"/>
          <p:cNvSpPr/>
          <p:nvPr/>
        </p:nvSpPr>
        <p:spPr>
          <a:xfrm>
            <a:off x="6754153" y="580401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74"/>
          <p:cNvSpPr/>
          <p:nvPr/>
        </p:nvSpPr>
        <p:spPr>
          <a:xfrm>
            <a:off x="568760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74"/>
          <p:cNvSpPr/>
          <p:nvPr/>
        </p:nvSpPr>
        <p:spPr>
          <a:xfrm>
            <a:off x="7576922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3084023" y="58502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3234945" y="5803468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20"/>
          <p:cNvSpPr/>
          <p:nvPr/>
        </p:nvSpPr>
        <p:spPr>
          <a:xfrm>
            <a:off x="2668469" y="58345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273057" y="57695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853655" y="571095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4" y="240752"/>
                </a:lnTo>
                <a:lnTo>
                  <a:pt x="18081" y="253876"/>
                </a:lnTo>
                <a:lnTo>
                  <a:pt x="24723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199" y="4434"/>
                </a:lnTo>
                <a:lnTo>
                  <a:pt x="111079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169749" y="58510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8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1" y="320584"/>
                </a:lnTo>
                <a:lnTo>
                  <a:pt x="256863" y="312410"/>
                </a:lnTo>
                <a:lnTo>
                  <a:pt x="267094" y="303312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7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3" y="47800"/>
                </a:lnTo>
                <a:lnTo>
                  <a:pt x="260899" y="38360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880842" y="57349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557260" y="5868392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107607" y="58306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907043" y="55058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593786" y="57902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724741" y="584823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107607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418124" y="54410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257759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45571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5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3"/>
                </a:lnTo>
                <a:lnTo>
                  <a:pt x="106135" y="337179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09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1" y="327777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3"/>
                </a:lnTo>
                <a:lnTo>
                  <a:pt x="86318" y="19582"/>
                </a:lnTo>
                <a:lnTo>
                  <a:pt x="74778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6" y="54016"/>
                </a:lnTo>
                <a:lnTo>
                  <a:pt x="35419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134986" y="553624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239383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163764" y="58580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359085" y="526908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531142" y="57796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6"/>
                </a:lnTo>
                <a:lnTo>
                  <a:pt x="1582" y="198179"/>
                </a:lnTo>
                <a:lnTo>
                  <a:pt x="4094" y="212848"/>
                </a:lnTo>
                <a:lnTo>
                  <a:pt x="7715" y="227057"/>
                </a:lnTo>
                <a:lnTo>
                  <a:pt x="12395" y="240752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2"/>
                </a:lnTo>
                <a:lnTo>
                  <a:pt x="40672" y="289272"/>
                </a:lnTo>
                <a:lnTo>
                  <a:pt x="49875" y="299561"/>
                </a:lnTo>
                <a:lnTo>
                  <a:pt x="59830" y="309001"/>
                </a:lnTo>
                <a:lnTo>
                  <a:pt x="70484" y="317539"/>
                </a:lnTo>
                <a:lnTo>
                  <a:pt x="81787" y="325119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8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7" y="347110"/>
                </a:lnTo>
                <a:lnTo>
                  <a:pt x="182985" y="345647"/>
                </a:lnTo>
                <a:lnTo>
                  <a:pt x="196529" y="342927"/>
                </a:lnTo>
                <a:lnTo>
                  <a:pt x="209649" y="339005"/>
                </a:lnTo>
                <a:lnTo>
                  <a:pt x="222293" y="333937"/>
                </a:lnTo>
                <a:lnTo>
                  <a:pt x="234411" y="327778"/>
                </a:lnTo>
                <a:lnTo>
                  <a:pt x="245952" y="320584"/>
                </a:lnTo>
                <a:lnTo>
                  <a:pt x="256863" y="312410"/>
                </a:lnTo>
                <a:lnTo>
                  <a:pt x="267094" y="303311"/>
                </a:lnTo>
                <a:lnTo>
                  <a:pt x="276593" y="293344"/>
                </a:lnTo>
                <a:lnTo>
                  <a:pt x="285310" y="282563"/>
                </a:lnTo>
                <a:lnTo>
                  <a:pt x="293193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4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4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8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2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332967" y="536389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4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581873" y="580884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93082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085618" y="547628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899218" y="509373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578489" y="54427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704400" y="54112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19470" y="533211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171053" y="47002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1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7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1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9"/>
                </a:lnTo>
                <a:lnTo>
                  <a:pt x="35632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8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50" y="291973"/>
                </a:lnTo>
                <a:lnTo>
                  <a:pt x="302221" y="281377"/>
                </a:lnTo>
                <a:lnTo>
                  <a:pt x="310252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59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349391" y="505314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954470" y="4563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5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849020" y="536256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779256" y="6287291"/>
            <a:ext cx="144761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0.7 Incom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44916" y="6287291"/>
            <a:ext cx="222924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+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616944" y="6287291"/>
            <a:ext cx="457007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0.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071736" y="6287291"/>
            <a:ext cx="54260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27773" y="54791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7560302" y="4902867"/>
            <a:ext cx="347472" cy="3474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2" name="object 70"/>
          <p:cNvSpPr/>
          <p:nvPr/>
        </p:nvSpPr>
        <p:spPr>
          <a:xfrm>
            <a:off x="2383438" y="5943600"/>
            <a:ext cx="6303362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93" name="Straight Arrow Connector 92"/>
          <p:cNvCxnSpPr/>
          <p:nvPr/>
        </p:nvCxnSpPr>
        <p:spPr>
          <a:xfrm flipV="1">
            <a:off x="2398534" y="2438400"/>
            <a:ext cx="4428457" cy="3494808"/>
          </a:xfrm>
          <a:prstGeom prst="straightConnector1">
            <a:avLst/>
          </a:prstGeom>
          <a:ln w="25399">
            <a:solidFill>
              <a:srgbClr val="6094C9"/>
            </a:solidFill>
            <a:headEnd type="none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99" name="object 72"/>
          <p:cNvSpPr/>
          <p:nvPr/>
        </p:nvSpPr>
        <p:spPr>
          <a:xfrm>
            <a:off x="3227773" y="5479167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5654789" y="542228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7560302" y="4902867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FAA757"/>
          </a:solidFill>
          <a:ln w="57150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Ag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84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0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Spectral Clustering</a:t>
            </a:r>
            <a:endParaRPr sz="3200" dirty="0">
              <a:latin typeface="+mj-lt"/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Look at them in the normal space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604887" y="1905000"/>
            <a:ext cx="7853313" cy="42319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265"/>
              </a:lnSpc>
            </a:pP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3200" b="1" spc="-4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3200" spc="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3200" b="1" spc="4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3200" b="1" spc="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3200" spc="0" dirty="0" smtClean="0">
                <a:solidFill>
                  <a:srgbClr val="9BBA58"/>
                </a:solidFill>
                <a:cs typeface="Calibri"/>
              </a:rPr>
              <a:t>SpectralClustering</a:t>
            </a:r>
            <a:endParaRPr sz="3200" dirty="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4886" y="3008777"/>
            <a:ext cx="7853313" cy="35907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lvl="0">
              <a:lnSpc>
                <a:spcPts val="2800"/>
              </a:lnSpc>
              <a:spcBef>
                <a:spcPts val="140"/>
              </a:spcBef>
            </a:pPr>
            <a:r>
              <a:rPr sz="3200" spc="0" baseline="2100" dirty="0" err="1" smtClean="0">
                <a:solidFill>
                  <a:srgbClr val="7F7E7E"/>
                </a:solidFill>
                <a:cs typeface="Calibri"/>
              </a:rPr>
              <a:t>SpectralClustering</a:t>
            </a:r>
            <a:r>
              <a:rPr sz="3200" spc="0" baseline="2100" dirty="0" smtClean="0">
                <a:solidFill>
                  <a:srgbClr val="7F7E7E"/>
                </a:solidFill>
                <a:cs typeface="Calibri"/>
              </a:rPr>
              <a:t>( </a:t>
            </a:r>
            <a:r>
              <a:rPr sz="3200" spc="0" baseline="2100" dirty="0" err="1" smtClean="0">
                <a:solidFill>
                  <a:srgbClr val="7F7E7E"/>
                </a:solidFill>
                <a:cs typeface="Calibri"/>
              </a:rPr>
              <a:t>n_clusters</a:t>
            </a:r>
            <a:r>
              <a:rPr sz="3200" spc="0" baseline="2100" dirty="0" smtClean="0">
                <a:solidFill>
                  <a:srgbClr val="7F7E7E"/>
                </a:solidFill>
                <a:cs typeface="Calibri"/>
              </a:rPr>
              <a:t>=8,</a:t>
            </a:r>
            <a:r>
              <a:rPr lang="en-US" sz="3200" spc="0" baseline="2100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3200" baseline="2100" dirty="0" err="1">
                <a:solidFill>
                  <a:srgbClr val="7F7E7E"/>
                </a:solidFill>
                <a:cs typeface="Calibri"/>
              </a:rPr>
              <a:t>n_init</a:t>
            </a:r>
            <a:r>
              <a:rPr lang="en-US" sz="3200" baseline="2100" dirty="0">
                <a:solidFill>
                  <a:srgbClr val="7F7E7E"/>
                </a:solidFill>
                <a:cs typeface="Calibri"/>
              </a:rPr>
              <a:t>=10 </a:t>
            </a:r>
            <a:r>
              <a:rPr lang="en-US" sz="3200" baseline="2100" dirty="0" smtClean="0">
                <a:solidFill>
                  <a:srgbClr val="7F7E7E"/>
                </a:solidFill>
                <a:cs typeface="Calibri"/>
              </a:rPr>
              <a:t>)</a:t>
            </a:r>
            <a:endParaRPr lang="en-US" sz="3200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5230912" y="2687303"/>
            <a:ext cx="1522426" cy="355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800"/>
              </a:lnSpc>
              <a:spcBef>
                <a:spcPts val="140"/>
              </a:spcBef>
            </a:pPr>
            <a:endParaRPr sz="26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099471"/>
          </a:xfrm>
          <a:prstGeom prst="rect">
            <a:avLst/>
          </a:prstGeom>
          <a:blipFill>
            <a:blip r:embed="rId3" cstate="print"/>
            <a:srcRect/>
            <a:stretch>
              <a:fillRect b="-4397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140471"/>
            <a:ext cx="7593972" cy="1205458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Properties, Advantages, Disadvantages</a:t>
            </a:r>
            <a:endParaRPr lang="en-US" sz="6600" baseline="3103" dirty="0">
              <a:solidFill>
                <a:srgbClr val="F6954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58040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409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/>
          <p:cNvGrpSpPr/>
          <p:nvPr/>
        </p:nvGrpSpPr>
        <p:grpSpPr>
          <a:xfrm>
            <a:off x="143926" y="389791"/>
            <a:ext cx="8679631" cy="369332"/>
            <a:chOff x="143926" y="389791"/>
            <a:chExt cx="8679631" cy="369332"/>
          </a:xfrm>
        </p:grpSpPr>
        <p:sp>
          <p:nvSpPr>
            <p:cNvPr id="14" name="TextBox 13"/>
            <p:cNvSpPr txBox="1"/>
            <p:nvPr/>
          </p:nvSpPr>
          <p:spPr>
            <a:xfrm>
              <a:off x="143926" y="38979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K-mean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462475" y="38979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umber of 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38953" y="38979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s</a:t>
              </a:r>
              <a:r>
                <a:rPr lang="en-US" sz="1200" dirty="0" smtClean="0">
                  <a:solidFill>
                    <a:srgbClr val="7F7E7E"/>
                  </a:solidFill>
                </a:rPr>
                <a:t> 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r>
                <a:rPr lang="en-US" sz="1200" dirty="0" smtClean="0">
                  <a:solidFill>
                    <a:srgbClr val="7F7E7E"/>
                  </a:solidFill>
                </a:rPr>
                <a:t> with </a:t>
              </a:r>
              <a:r>
                <a:rPr lang="en-US" sz="1200" i="1" dirty="0" err="1" smtClean="0">
                  <a:solidFill>
                    <a:srgbClr val="6094C9"/>
                  </a:solidFill>
                </a:rPr>
                <a:t>MiniBatch</a:t>
              </a:r>
              <a:r>
                <a:rPr lang="en-US" sz="1200" i="1" dirty="0" smtClean="0">
                  <a:solidFill>
                    <a:srgbClr val="6094C9"/>
                  </a:solidFill>
                </a:rPr>
                <a:t> code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901022" y="38979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General purpose, even cluster size, flat geometry, not too many 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26745" y="389791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Distances between po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43926" y="858311"/>
            <a:ext cx="8679631" cy="369332"/>
            <a:chOff x="143926" y="1006045"/>
            <a:chExt cx="8679631" cy="369332"/>
          </a:xfrm>
        </p:grpSpPr>
        <p:sp>
          <p:nvSpPr>
            <p:cNvPr id="22" name="TextBox 21"/>
            <p:cNvSpPr txBox="1"/>
            <p:nvPr/>
          </p:nvSpPr>
          <p:spPr>
            <a:xfrm>
              <a:off x="143926" y="1006045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Affinity propagation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62475" y="1006045"/>
              <a:ext cx="1228466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Damping, sample preference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738953" y="1006045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901022" y="1006045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un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226745" y="1006045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Graph distance (e.g. nearest-neighbor graph)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43926" y="1326831"/>
            <a:ext cx="8679631" cy="369332"/>
            <a:chOff x="143926" y="1437633"/>
            <a:chExt cx="8679631" cy="369332"/>
          </a:xfrm>
        </p:grpSpPr>
        <p:sp>
          <p:nvSpPr>
            <p:cNvPr id="30" name="TextBox 29"/>
            <p:cNvSpPr txBox="1"/>
            <p:nvPr/>
          </p:nvSpPr>
          <p:spPr>
            <a:xfrm>
              <a:off x="143926" y="1437633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Mean-shift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62475" y="1437633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Bandwidth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738953" y="1437633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t scalable with </a:t>
              </a:r>
              <a:r>
                <a:rPr lang="en-US" sz="1200" dirty="0" err="1" smtClean="0">
                  <a:solidFill>
                    <a:srgbClr val="7F7E7E"/>
                  </a:solidFill>
                </a:rPr>
                <a:t>n_sample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901022" y="1437633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un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226745" y="1437633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43926" y="1795351"/>
            <a:ext cx="8679631" cy="369332"/>
            <a:chOff x="143926" y="1869221"/>
            <a:chExt cx="8679631" cy="369332"/>
          </a:xfrm>
        </p:grpSpPr>
        <p:sp>
          <p:nvSpPr>
            <p:cNvPr id="37" name="TextBox 36"/>
            <p:cNvSpPr txBox="1"/>
            <p:nvPr/>
          </p:nvSpPr>
          <p:spPr>
            <a:xfrm>
              <a:off x="143926" y="1869221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Spectral clustering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462475" y="1869221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</a:t>
              </a:r>
              <a:r>
                <a:rPr lang="en-US" sz="1200" dirty="0" smtClean="0">
                  <a:solidFill>
                    <a:srgbClr val="7F7E7E"/>
                  </a:solidFill>
                </a:rPr>
                <a:t>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738953" y="1869221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 smtClean="0">
                  <a:solidFill>
                    <a:srgbClr val="7F7E7E"/>
                  </a:solidFill>
                </a:rPr>
                <a:t>, small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01022" y="1869221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Few clusters, even cluster size, non-flat geometry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226745" y="1869221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Graph distance (e.g. nearest-neighbor graph)</a:t>
              </a:r>
            </a:p>
          </p:txBody>
        </p:sp>
      </p:grpSp>
      <p:cxnSp>
        <p:nvCxnSpPr>
          <p:cNvPr id="56" name="Straight Connector 55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 80"/>
          <p:cNvGrpSpPr/>
          <p:nvPr/>
        </p:nvGrpSpPr>
        <p:grpSpPr>
          <a:xfrm>
            <a:off x="143926" y="2263871"/>
            <a:ext cx="8679631" cy="369332"/>
            <a:chOff x="143926" y="2300809"/>
            <a:chExt cx="8679631" cy="369332"/>
          </a:xfrm>
        </p:grpSpPr>
        <p:sp>
          <p:nvSpPr>
            <p:cNvPr id="61" name="TextBox 60"/>
            <p:cNvSpPr txBox="1"/>
            <p:nvPr/>
          </p:nvSpPr>
          <p:spPr>
            <a:xfrm>
              <a:off x="143926" y="2300809"/>
              <a:ext cx="127053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Hierarchical clustering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462475" y="2300809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Number of </a:t>
              </a:r>
              <a:r>
                <a:rPr lang="en-US" sz="1200" dirty="0" smtClean="0">
                  <a:solidFill>
                    <a:srgbClr val="7F7E7E"/>
                  </a:solidFill>
                </a:rPr>
                <a:t>cluster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738953" y="2300809"/>
              <a:ext cx="21140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>
                  <a:solidFill>
                    <a:srgbClr val="7F7E7E"/>
                  </a:solidFill>
                </a:rPr>
                <a:t> </a:t>
              </a:r>
              <a:r>
                <a:rPr lang="en-US" sz="1200" dirty="0" smtClean="0">
                  <a:solidFill>
                    <a:srgbClr val="7F7E7E"/>
                  </a:solidFill>
                </a:rPr>
                <a:t>and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901022" y="2300809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Many clusters, possibly connectivity constra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226745" y="2300809"/>
              <a:ext cx="15968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points</a:t>
              </a:r>
            </a:p>
          </p:txBody>
        </p:sp>
      </p:grpSp>
      <p:cxnSp>
        <p:nvCxnSpPr>
          <p:cNvPr id="73" name="Straight Connector 72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143926" y="2732396"/>
            <a:ext cx="8679631" cy="369332"/>
            <a:chOff x="143926" y="2732396"/>
            <a:chExt cx="8679631" cy="369332"/>
          </a:xfrm>
        </p:grpSpPr>
        <p:sp>
          <p:nvSpPr>
            <p:cNvPr id="75" name="TextBox 74"/>
            <p:cNvSpPr txBox="1"/>
            <p:nvPr/>
          </p:nvSpPr>
          <p:spPr>
            <a:xfrm>
              <a:off x="143926" y="2732396"/>
              <a:ext cx="127053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i="1" dirty="0" smtClean="0">
                  <a:solidFill>
                    <a:srgbClr val="6094C9"/>
                  </a:solidFill>
                </a:rPr>
                <a:t>DBSCAN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462475" y="2732396"/>
              <a:ext cx="122846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eighborhood size 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738953" y="2732396"/>
              <a:ext cx="211405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Very large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samples</a:t>
              </a:r>
              <a:r>
                <a:rPr lang="en-US" sz="1200" dirty="0" smtClean="0">
                  <a:solidFill>
                    <a:srgbClr val="7F7E7E"/>
                  </a:solidFill>
                </a:rPr>
                <a:t>, medium </a:t>
              </a:r>
              <a:r>
                <a:rPr lang="en-US" sz="1200" i="1" dirty="0" err="1" smtClean="0">
                  <a:solidFill>
                    <a:srgbClr val="7F7E7E"/>
                  </a:solidFill>
                </a:rPr>
                <a:t>n_clusters</a:t>
              </a:r>
              <a:endParaRPr lang="en-US" sz="1200" i="1" dirty="0">
                <a:solidFill>
                  <a:srgbClr val="6094C9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4901022" y="2732396"/>
              <a:ext cx="227771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 smtClean="0">
                  <a:solidFill>
                    <a:srgbClr val="7F7E7E"/>
                  </a:solidFill>
                </a:rPr>
                <a:t>Non-flat geometry, uneven cluster size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226745" y="2732396"/>
              <a:ext cx="15968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rgbClr val="7F7E7E"/>
                  </a:solidFill>
                </a:rPr>
                <a:t>Distances between </a:t>
              </a:r>
              <a:r>
                <a:rPr lang="en-US" sz="1200" dirty="0" smtClean="0">
                  <a:solidFill>
                    <a:srgbClr val="7F7E7E"/>
                  </a:solidFill>
                </a:rPr>
                <a:t>nearest points</a:t>
              </a:r>
              <a:endParaRPr lang="en-US" sz="1200" dirty="0">
                <a:solidFill>
                  <a:srgbClr val="7F7E7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692241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51" name="object 5"/>
          <p:cNvSpPr txBox="1"/>
          <p:nvPr/>
        </p:nvSpPr>
        <p:spPr>
          <a:xfrm>
            <a:off x="143926" y="3515232"/>
            <a:ext cx="8679631" cy="22350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K Means:</a:t>
            </a:r>
            <a:endParaRPr sz="4400" dirty="0">
              <a:cs typeface="Calibri"/>
            </a:endParaRPr>
          </a:p>
          <a:p>
            <a:pPr marL="12700">
              <a:lnSpc>
                <a:spcPts val="2770"/>
              </a:lnSpc>
            </a:pPr>
            <a:endParaRPr lang="en-US" sz="4400" baseline="1137" dirty="0" smtClean="0">
              <a:solidFill>
                <a:srgbClr val="F69545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F69545"/>
                </a:solidFill>
                <a:cs typeface="Calibri"/>
              </a:rPr>
              <a:t>- </a:t>
            </a:r>
            <a:r>
              <a:rPr lang="en-US" sz="4400" baseline="1137" dirty="0" err="1" smtClean="0">
                <a:solidFill>
                  <a:srgbClr val="F69545"/>
                </a:solidFill>
                <a:cs typeface="Calibri"/>
              </a:rPr>
              <a:t>MiniBatch</a:t>
            </a:r>
            <a:r>
              <a:rPr lang="en-US" sz="4400" baseline="1137" dirty="0" smtClean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version is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super fast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big data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)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Have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 try k values (k not too big).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/>
            </a:r>
            <a:br>
              <a:rPr lang="en-US" sz="4400" baseline="1137" dirty="0" smtClean="0">
                <a:solidFill>
                  <a:srgbClr val="7F7E7E"/>
                </a:solidFill>
                <a:cs typeface="Calibri"/>
              </a:rPr>
            </a:b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Tends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 ﬁnd </a:t>
            </a:r>
            <a:r>
              <a:rPr lang="en-US" sz="4400" baseline="1137" dirty="0">
                <a:solidFill>
                  <a:srgbClr val="418FA2"/>
                </a:solidFill>
                <a:cs typeface="Calibri"/>
              </a:rPr>
              <a:t>even sized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Bad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with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non‐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spherical cluster shapes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103149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3465101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305532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Hierarchical </a:t>
            </a: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Clustering:</a:t>
            </a:r>
          </a:p>
          <a:p>
            <a:pPr marL="12700" marR="41909">
              <a:lnSpc>
                <a:spcPts val="3454"/>
              </a:lnSpc>
              <a:spcBef>
                <a:spcPts val="172"/>
              </a:spcBef>
            </a:pP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You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get a full </a:t>
            </a:r>
            <a:r>
              <a:rPr lang="en-US" sz="4400" baseline="1137" dirty="0">
                <a:solidFill>
                  <a:schemeClr val="accent4"/>
                </a:solidFill>
                <a:cs typeface="Calibri"/>
              </a:rPr>
              <a:t>hierarchy tree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Useful for some problem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Have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 try k valu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Finds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(one is big, some are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tiny, etc.).</a:t>
            </a:r>
            <a:r>
              <a:rPr lang="en-US" sz="4400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Due to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he “the rich get richer eﬀect.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”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</a:t>
            </a:r>
            <a:r>
              <a:rPr lang="en-US" sz="4400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A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lot of </a:t>
            </a:r>
            <a:r>
              <a:rPr lang="en-US" sz="4400" baseline="1137" dirty="0">
                <a:solidFill>
                  <a:srgbClr val="FAA757"/>
                </a:solidFill>
                <a:cs typeface="Calibri"/>
              </a:rPr>
              <a:t>distance metric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and linkage </a:t>
            </a:r>
            <a:r>
              <a:rPr lang="en-US" sz="4400" baseline="1137" dirty="0" smtClean="0">
                <a:solidFill>
                  <a:srgbClr val="FAA757"/>
                </a:solidFill>
                <a:cs typeface="Calibri"/>
              </a:rPr>
              <a:t>option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 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Fast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 Can easily handle lots of data and cluster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608163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731512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2603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DBSCAN</a:t>
            </a: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Density based, on the money with the right parameter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ve to try </a:t>
            </a:r>
            <a:r>
              <a:rPr lang="en-US" sz="4400" i="1" baseline="1137" dirty="0">
                <a:solidFill>
                  <a:srgbClr val="7F7E7E"/>
                </a:solidFill>
                <a:cs typeface="Calibri"/>
              </a:rPr>
              <a:t>epsilon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 (and </a:t>
            </a:r>
            <a:r>
              <a:rPr lang="en-US" sz="4400" i="1" baseline="1137" dirty="0" err="1">
                <a:solidFill>
                  <a:srgbClr val="7F7E7E"/>
                </a:solidFill>
                <a:cs typeface="Calibri"/>
              </a:rPr>
              <a:t>num_clu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) values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Can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Full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istance metric </a:t>
            </a:r>
            <a:r>
              <a:rPr lang="en-US" sz="4400" baseline="1137" dirty="0" smtClean="0">
                <a:solidFill>
                  <a:srgbClr val="F69545"/>
                </a:solidFill>
                <a:cs typeface="Calibri"/>
              </a:rPr>
              <a:t>option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Can handle tons of data and weird shapes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Too small epsilon (too many clusters) is a bit shaky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7578557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471445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43926" y="3515232"/>
            <a:ext cx="8679631" cy="259032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Mean‐shift</a:t>
            </a:r>
            <a:endParaRPr lang="en-US" sz="4400" baseline="2560" dirty="0">
              <a:solidFill>
                <a:srgbClr val="4E81BC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You </a:t>
            </a:r>
            <a:r>
              <a:rPr lang="en-US" sz="4400" baseline="1137" dirty="0">
                <a:solidFill>
                  <a:srgbClr val="F69545"/>
                </a:solidFill>
                <a:cs typeface="Calibri"/>
              </a:rPr>
              <a:t>DON’T have to guess k 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or</a:t>
            </a:r>
            <a:r>
              <a:rPr lang="en-US" sz="4400" dirty="0" smtClean="0">
                <a:solidFill>
                  <a:srgbClr val="7F7E7E"/>
                </a:solidFill>
                <a:cs typeface="Calibri"/>
              </a:rPr>
              <a:t>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other parameters</a:t>
            </a: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.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Fire &amp; forget. </a:t>
            </a:r>
            <a:endParaRPr lang="en-US" sz="4400" baseline="1137" dirty="0" smtClean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Can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ﬁnd </a:t>
            </a:r>
            <a:r>
              <a:rPr lang="en-US" sz="4400" baseline="1137" dirty="0">
                <a:solidFill>
                  <a:srgbClr val="AAC56C"/>
                </a:solidFill>
                <a:cs typeface="Calibri"/>
              </a:rPr>
              <a:t>uneven cluster sizes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Slow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with a lot of data, but lots of clusters no problem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 smtClean="0">
                <a:solidFill>
                  <a:srgbClr val="7F7E7E"/>
                </a:solidFill>
                <a:cs typeface="Calibri"/>
              </a:rPr>
              <a:t>- Doesn’t </a:t>
            </a:r>
            <a:r>
              <a:rPr lang="en-US" sz="4400" baseline="1137" dirty="0">
                <a:solidFill>
                  <a:srgbClr val="7F7E7E"/>
                </a:solidFill>
                <a:cs typeface="Calibri"/>
              </a:rPr>
              <a:t>handle weird shapes well.</a:t>
            </a:r>
          </a:p>
          <a:p>
            <a:pPr marL="12700">
              <a:lnSpc>
                <a:spcPts val="2770"/>
              </a:lnSpc>
            </a:pPr>
            <a:r>
              <a:rPr lang="en-US" sz="4400" baseline="1137" dirty="0">
                <a:solidFill>
                  <a:srgbClr val="7030A0"/>
                </a:solidFill>
                <a:cs typeface="Calibri"/>
              </a:rPr>
              <a:t>Euclidean distance only</a:t>
            </a:r>
            <a:r>
              <a:rPr lang="en-US" sz="4400" baseline="1137" dirty="0" smtClean="0">
                <a:solidFill>
                  <a:srgbClr val="7030A0"/>
                </a:solidFill>
                <a:cs typeface="Calibri"/>
              </a:rPr>
              <a:t>.</a:t>
            </a:r>
            <a:endParaRPr lang="en-US" sz="4400" baseline="1137" dirty="0">
              <a:solidFill>
                <a:srgbClr val="7030A0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611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3084273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4578460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926" y="129140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Method nam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2475" y="129140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Parameters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38953" y="129140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Scalability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01022" y="129140"/>
            <a:ext cx="2277711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err="1" smtClean="0">
                <a:solidFill>
                  <a:srgbClr val="7F7E7E"/>
                </a:solidFill>
              </a:rPr>
              <a:t>Usecase</a:t>
            </a:r>
            <a:endParaRPr lang="en-US" sz="1200" b="1" dirty="0">
              <a:solidFill>
                <a:srgbClr val="7F7E7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26745" y="129140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200" b="1" dirty="0" smtClean="0">
                <a:solidFill>
                  <a:srgbClr val="7F7E7E"/>
                </a:solidFill>
              </a:rPr>
              <a:t>Geometry (metric used)</a:t>
            </a:r>
            <a:endParaRPr lang="en-US" sz="1200" b="1" dirty="0">
              <a:solidFill>
                <a:srgbClr val="7F7E7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43926" y="346258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3926" y="38979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K-means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62475" y="38979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umber of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38953" y="38979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</a:t>
            </a:r>
            <a:r>
              <a:rPr lang="en-US" sz="1200" dirty="0" err="1" smtClean="0">
                <a:solidFill>
                  <a:srgbClr val="7F7E7E"/>
                </a:solidFill>
              </a:rPr>
              <a:t>s</a:t>
            </a:r>
            <a:r>
              <a:rPr lang="en-US" sz="1200" dirty="0" smtClean="0">
                <a:solidFill>
                  <a:srgbClr val="7F7E7E"/>
                </a:solidFill>
              </a:rPr>
              <a:t>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r>
              <a:rPr lang="en-US" sz="1200" dirty="0" smtClean="0">
                <a:solidFill>
                  <a:srgbClr val="7F7E7E"/>
                </a:solidFill>
              </a:rPr>
              <a:t> with </a:t>
            </a:r>
            <a:r>
              <a:rPr lang="en-US" sz="1200" i="1" dirty="0" err="1" smtClean="0">
                <a:solidFill>
                  <a:srgbClr val="4E81BC"/>
                </a:solidFill>
              </a:rPr>
              <a:t>MiniBatch</a:t>
            </a:r>
            <a:r>
              <a:rPr lang="en-US" sz="1200" i="1" dirty="0" smtClean="0">
                <a:solidFill>
                  <a:srgbClr val="4E81BC"/>
                </a:solidFill>
              </a:rPr>
              <a:t> code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01022" y="38979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eneral purpose, even cluster size, flat geometry, not too many 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26745" y="38979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istances between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926" y="85831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Affinity propagatio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2475" y="858311"/>
            <a:ext cx="12284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Damping, sample preferenc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38953" y="85831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01022" y="85831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26745" y="85831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Graph distance (e.g. nearest-neighbor graph)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3926" y="132683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Mean-shift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62475" y="132683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Bandwidth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38953" y="132683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t scalable with </a:t>
            </a:r>
            <a:r>
              <a:rPr lang="en-US" sz="1200" dirty="0" err="1" smtClean="0">
                <a:solidFill>
                  <a:srgbClr val="7F7E7E"/>
                </a:solidFill>
              </a:rPr>
              <a:t>n_sample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01022" y="132683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un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26745" y="132683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926" y="1795351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Spectr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62475" y="179535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738953" y="1795351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small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01022" y="179535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Few clusters, even cluster size, non-flat geometry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26745" y="1795351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Graph distance (e.g. nearest-neighbor graph)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43926" y="80871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43926" y="127723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43926" y="174575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43926" y="221427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43926" y="2263871"/>
            <a:ext cx="1270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Hierarchical clustering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62475" y="2263871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Number of </a:t>
            </a:r>
            <a:r>
              <a:rPr lang="en-US" sz="1200" dirty="0" smtClean="0">
                <a:solidFill>
                  <a:srgbClr val="7F7E7E"/>
                </a:solidFill>
              </a:rPr>
              <a:t>cluster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8953" y="2263871"/>
            <a:ext cx="21140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>
                <a:solidFill>
                  <a:srgbClr val="7F7E7E"/>
                </a:solidFill>
              </a:rPr>
              <a:t> </a:t>
            </a:r>
            <a:r>
              <a:rPr lang="en-US" sz="1200" dirty="0" smtClean="0">
                <a:solidFill>
                  <a:srgbClr val="7F7E7E"/>
                </a:solidFill>
              </a:rPr>
              <a:t>and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1022" y="2263871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Many clusters, possibly connectivity constra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26745" y="2263871"/>
            <a:ext cx="1596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points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143926" y="2682797"/>
            <a:ext cx="8679631" cy="0"/>
          </a:xfrm>
          <a:prstGeom prst="line">
            <a:avLst/>
          </a:prstGeom>
          <a:ln>
            <a:solidFill>
              <a:srgbClr val="7F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43926" y="2732396"/>
            <a:ext cx="12705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i="1" dirty="0" smtClean="0">
                <a:solidFill>
                  <a:srgbClr val="4E81BC"/>
                </a:solidFill>
              </a:rPr>
              <a:t>DBSCAN</a:t>
            </a:r>
            <a:endParaRPr lang="en-US" sz="1200" i="1" dirty="0">
              <a:solidFill>
                <a:srgbClr val="4E81BC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62475" y="2732396"/>
            <a:ext cx="12284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eighborhood size 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38953" y="2732396"/>
            <a:ext cx="21140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Very large </a:t>
            </a:r>
            <a:r>
              <a:rPr lang="en-US" sz="1200" i="1" dirty="0" err="1" smtClean="0">
                <a:solidFill>
                  <a:srgbClr val="7F7E7E"/>
                </a:solidFill>
              </a:rPr>
              <a:t>n_samples</a:t>
            </a:r>
            <a:r>
              <a:rPr lang="en-US" sz="1200" dirty="0" smtClean="0">
                <a:solidFill>
                  <a:srgbClr val="7F7E7E"/>
                </a:solidFill>
              </a:rPr>
              <a:t>, medium </a:t>
            </a:r>
            <a:r>
              <a:rPr lang="en-US" sz="1200" i="1" dirty="0" err="1" smtClean="0">
                <a:solidFill>
                  <a:srgbClr val="7F7E7E"/>
                </a:solidFill>
              </a:rPr>
              <a:t>n_clusters</a:t>
            </a:r>
            <a:endParaRPr lang="en-US" sz="1200" i="1" dirty="0">
              <a:solidFill>
                <a:srgbClr val="6094C9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901022" y="2732396"/>
            <a:ext cx="22777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solidFill>
                  <a:srgbClr val="7F7E7E"/>
                </a:solidFill>
              </a:rPr>
              <a:t>Non-flat geometry, uneven cluster size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26745" y="2732396"/>
            <a:ext cx="15968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7F7E7E"/>
                </a:solidFill>
              </a:rPr>
              <a:t>Distances between </a:t>
            </a:r>
            <a:r>
              <a:rPr lang="en-US" sz="1200" dirty="0" smtClean="0">
                <a:solidFill>
                  <a:srgbClr val="7F7E7E"/>
                </a:solidFill>
              </a:rPr>
              <a:t>nearest points</a:t>
            </a:r>
            <a:endParaRPr lang="en-US" sz="1200" dirty="0">
              <a:solidFill>
                <a:srgbClr val="7F7E7E"/>
              </a:solidFill>
            </a:endParaRPr>
          </a:p>
        </p:txBody>
      </p:sp>
      <p:sp>
        <p:nvSpPr>
          <p:cNvPr id="45" name="object 5"/>
          <p:cNvSpPr txBox="1"/>
          <p:nvPr/>
        </p:nvSpPr>
        <p:spPr>
          <a:xfrm>
            <a:off x="129815" y="3261232"/>
            <a:ext cx="8679631" cy="302828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400" baseline="2560" dirty="0">
                <a:solidFill>
                  <a:srgbClr val="4E81BC"/>
                </a:solidFill>
                <a:cs typeface="Calibri"/>
              </a:rPr>
              <a:t>Spectral </a:t>
            </a:r>
            <a:r>
              <a:rPr lang="en-US" sz="4400" baseline="2560" dirty="0" smtClean="0">
                <a:solidFill>
                  <a:srgbClr val="4E81BC"/>
                </a:solidFill>
                <a:cs typeface="Calibri"/>
              </a:rPr>
              <a:t>clustering:</a:t>
            </a:r>
          </a:p>
          <a:p>
            <a:pPr marL="12700" marR="3555855" lvl="0">
              <a:lnSpc>
                <a:spcPts val="3300"/>
              </a:lnSpc>
              <a:spcBef>
                <a:spcPts val="5"/>
              </a:spcBef>
            </a:pPr>
            <a:r>
              <a:rPr lang="en-US" sz="2800" dirty="0" smtClean="0">
                <a:solidFill>
                  <a:srgbClr val="A6A5A5"/>
                </a:solidFill>
                <a:cs typeface="Calibri"/>
              </a:rPr>
              <a:t>- Best with </a:t>
            </a:r>
            <a:r>
              <a:rPr lang="en-US" sz="2800" dirty="0" smtClean="0">
                <a:solidFill>
                  <a:srgbClr val="8063A1"/>
                </a:solidFill>
                <a:cs typeface="Calibri"/>
              </a:rPr>
              <a:t>sparse distances</a:t>
            </a:r>
            <a:r>
              <a:rPr lang="en-US" sz="2800" dirty="0" smtClean="0">
                <a:solidFill>
                  <a:srgbClr val="A6A5A5"/>
                </a:solidFill>
                <a:cs typeface="Calibri"/>
              </a:rPr>
              <a:t>. </a:t>
            </a:r>
          </a:p>
          <a:p>
            <a:pPr marL="12700" marR="3555855" lvl="0">
              <a:lnSpc>
                <a:spcPts val="3300"/>
              </a:lnSpc>
              <a:spcBef>
                <a:spcPts val="5"/>
              </a:spcBef>
            </a:pPr>
            <a:r>
              <a:rPr lang="en-US" sz="2800" dirty="0" smtClean="0">
                <a:solidFill>
                  <a:srgbClr val="A6A5A5"/>
                </a:solidFill>
                <a:cs typeface="Calibri"/>
              </a:rPr>
              <a:t>- Tends 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to ﬁnd </a:t>
            </a:r>
            <a:r>
              <a:rPr lang="en-US" sz="2800" dirty="0">
                <a:solidFill>
                  <a:srgbClr val="9BBA58"/>
                </a:solidFill>
                <a:cs typeface="Calibri"/>
              </a:rPr>
              <a:t>even sized clusters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marR="53340" lvl="0">
              <a:lnSpc>
                <a:spcPct val="101725"/>
              </a:lnSpc>
            </a:pPr>
            <a:r>
              <a:rPr lang="en-US" sz="2800" dirty="0" smtClean="0">
                <a:solidFill>
                  <a:srgbClr val="A6A5A5"/>
                </a:solidFill>
                <a:cs typeface="Calibri"/>
              </a:rPr>
              <a:t>- Good 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with </a:t>
            </a:r>
            <a:r>
              <a:rPr lang="en-US" sz="2800" dirty="0">
                <a:solidFill>
                  <a:srgbClr val="4BABC5"/>
                </a:solidFill>
                <a:cs typeface="Calibri"/>
              </a:rPr>
              <a:t>only a few clusters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, rubbish with many.</a:t>
            </a:r>
            <a:endParaRPr lang="en-US" sz="2800" dirty="0">
              <a:solidFill>
                <a:prstClr val="black"/>
              </a:solidFill>
              <a:cs typeface="Calibri"/>
            </a:endParaRPr>
          </a:p>
          <a:p>
            <a:pPr marL="12700" lvl="0">
              <a:lnSpc>
                <a:spcPts val="3300"/>
              </a:lnSpc>
              <a:spcBef>
                <a:spcPts val="165"/>
              </a:spcBef>
            </a:pPr>
            <a:r>
              <a:rPr lang="en-US" sz="4200" baseline="1950" dirty="0" smtClean="0">
                <a:solidFill>
                  <a:srgbClr val="A6A5A5"/>
                </a:solidFill>
                <a:cs typeface="Calibri"/>
              </a:rPr>
              <a:t>- Can </a:t>
            </a:r>
            <a:r>
              <a:rPr lang="en-US" sz="4200" baseline="1950" dirty="0">
                <a:solidFill>
                  <a:srgbClr val="A6A5A5"/>
                </a:solidFill>
                <a:cs typeface="Calibri"/>
              </a:rPr>
              <a:t>handle </a:t>
            </a:r>
            <a:r>
              <a:rPr lang="en-US" sz="4200" baseline="1950" dirty="0">
                <a:solidFill>
                  <a:srgbClr val="BF4F4D"/>
                </a:solidFill>
                <a:cs typeface="Calibri"/>
              </a:rPr>
              <a:t>weirdest </a:t>
            </a:r>
            <a:r>
              <a:rPr lang="en-US" sz="4200" baseline="1950" dirty="0" smtClean="0">
                <a:solidFill>
                  <a:srgbClr val="BF4F4D"/>
                </a:solidFill>
                <a:cs typeface="Calibri"/>
              </a:rPr>
              <a:t>connectivity shapes </a:t>
            </a:r>
            <a:r>
              <a:rPr lang="en-US" sz="3300" baseline="2482" dirty="0">
                <a:solidFill>
                  <a:srgbClr val="A6A5A5"/>
                </a:solidFill>
                <a:cs typeface="Calibri"/>
              </a:rPr>
              <a:t>(like concentric circles)</a:t>
            </a:r>
            <a:endParaRPr lang="en-US" sz="2200" dirty="0">
              <a:solidFill>
                <a:prstClr val="black"/>
              </a:solidFill>
              <a:cs typeface="Calibri"/>
            </a:endParaRPr>
          </a:p>
          <a:p>
            <a:pPr marL="12700" marR="53340" lvl="0">
              <a:lnSpc>
                <a:spcPts val="3365"/>
              </a:lnSpc>
              <a:spcBef>
                <a:spcPts val="3"/>
              </a:spcBef>
            </a:pPr>
            <a:r>
              <a:rPr lang="en-US" sz="2800" dirty="0" smtClean="0">
                <a:solidFill>
                  <a:srgbClr val="F69545"/>
                </a:solidFill>
                <a:cs typeface="Calibri"/>
              </a:rPr>
              <a:t>- Euclidean </a:t>
            </a:r>
            <a:r>
              <a:rPr lang="en-US" sz="2800" dirty="0">
                <a:solidFill>
                  <a:srgbClr val="F69545"/>
                </a:solidFill>
                <a:cs typeface="Calibri"/>
              </a:rPr>
              <a:t>distance only</a:t>
            </a:r>
            <a:r>
              <a:rPr lang="en-US" sz="2800" dirty="0">
                <a:solidFill>
                  <a:srgbClr val="A6A5A5"/>
                </a:solidFill>
                <a:cs typeface="Calibri"/>
              </a:rPr>
              <a:t>.</a:t>
            </a:r>
            <a:endParaRPr lang="en-US" sz="2800" dirty="0">
              <a:solidFill>
                <a:prstClr val="black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1" name="Object 1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1430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0" name="TextBox 29"/>
          <p:cNvSpPr txBox="1"/>
          <p:nvPr/>
        </p:nvSpPr>
        <p:spPr>
          <a:xfrm>
            <a:off x="14392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612972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5" name="TextBox 34"/>
          <p:cNvSpPr txBox="1"/>
          <p:nvPr/>
        </p:nvSpPr>
        <p:spPr>
          <a:xfrm>
            <a:off x="1642598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111644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8" name="TextBox 37"/>
          <p:cNvSpPr txBox="1"/>
          <p:nvPr/>
        </p:nvSpPr>
        <p:spPr>
          <a:xfrm>
            <a:off x="3141270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10317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1" name="TextBox 40"/>
          <p:cNvSpPr txBox="1"/>
          <p:nvPr/>
        </p:nvSpPr>
        <p:spPr>
          <a:xfrm>
            <a:off x="4639943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08989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4" name="TextBox 43"/>
          <p:cNvSpPr txBox="1"/>
          <p:nvPr/>
        </p:nvSpPr>
        <p:spPr>
          <a:xfrm>
            <a:off x="6138615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607660" y="3810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7" name="TextBox 46"/>
          <p:cNvSpPr txBox="1"/>
          <p:nvPr/>
        </p:nvSpPr>
        <p:spPr>
          <a:xfrm>
            <a:off x="7637286" y="17193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1430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8" name="TextBox 67"/>
          <p:cNvSpPr txBox="1"/>
          <p:nvPr/>
        </p:nvSpPr>
        <p:spPr>
          <a:xfrm>
            <a:off x="14392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0.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612972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6" name="TextBox 65"/>
          <p:cNvSpPr txBox="1"/>
          <p:nvPr/>
        </p:nvSpPr>
        <p:spPr>
          <a:xfrm>
            <a:off x="1642598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17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111644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4" name="TextBox 63"/>
          <p:cNvSpPr txBox="1"/>
          <p:nvPr/>
        </p:nvSpPr>
        <p:spPr>
          <a:xfrm>
            <a:off x="3141270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10317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2" name="TextBox 61"/>
          <p:cNvSpPr txBox="1"/>
          <p:nvPr/>
        </p:nvSpPr>
        <p:spPr>
          <a:xfrm>
            <a:off x="4639943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108989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60" name="TextBox 59"/>
          <p:cNvSpPr txBox="1"/>
          <p:nvPr/>
        </p:nvSpPr>
        <p:spPr>
          <a:xfrm>
            <a:off x="6138615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07660" y="19812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8" name="TextBox 57"/>
          <p:cNvSpPr txBox="1"/>
          <p:nvPr/>
        </p:nvSpPr>
        <p:spPr>
          <a:xfrm>
            <a:off x="7637286" y="33195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1430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TextBox 86"/>
          <p:cNvSpPr txBox="1"/>
          <p:nvPr/>
        </p:nvSpPr>
        <p:spPr>
          <a:xfrm>
            <a:off x="14392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612972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5" name="TextBox 84"/>
          <p:cNvSpPr txBox="1"/>
          <p:nvPr/>
        </p:nvSpPr>
        <p:spPr>
          <a:xfrm>
            <a:off x="1642598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45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111644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3" name="TextBox 82"/>
          <p:cNvSpPr txBox="1"/>
          <p:nvPr/>
        </p:nvSpPr>
        <p:spPr>
          <a:xfrm>
            <a:off x="3141270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610317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1" name="TextBox 80"/>
          <p:cNvSpPr txBox="1"/>
          <p:nvPr/>
        </p:nvSpPr>
        <p:spPr>
          <a:xfrm>
            <a:off x="4639943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4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6108989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9" name="TextBox 78"/>
          <p:cNvSpPr txBox="1"/>
          <p:nvPr/>
        </p:nvSpPr>
        <p:spPr>
          <a:xfrm>
            <a:off x="6138615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3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607660" y="35814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7" name="TextBox 76"/>
          <p:cNvSpPr txBox="1"/>
          <p:nvPr/>
        </p:nvSpPr>
        <p:spPr>
          <a:xfrm>
            <a:off x="7637286" y="49197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11430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6" name="TextBox 105"/>
          <p:cNvSpPr txBox="1"/>
          <p:nvPr/>
        </p:nvSpPr>
        <p:spPr>
          <a:xfrm>
            <a:off x="14392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2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612972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4" name="TextBox 103"/>
          <p:cNvSpPr txBox="1"/>
          <p:nvPr/>
        </p:nvSpPr>
        <p:spPr>
          <a:xfrm>
            <a:off x="1642598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8.53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111644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2" name="TextBox 101"/>
          <p:cNvSpPr txBox="1"/>
          <p:nvPr/>
        </p:nvSpPr>
        <p:spPr>
          <a:xfrm>
            <a:off x="3141270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6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610317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0" name="TextBox 99"/>
          <p:cNvSpPr txBox="1"/>
          <p:nvPr/>
        </p:nvSpPr>
        <p:spPr>
          <a:xfrm>
            <a:off x="4639943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08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108989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8" name="TextBox 97"/>
          <p:cNvSpPr txBox="1"/>
          <p:nvPr/>
        </p:nvSpPr>
        <p:spPr>
          <a:xfrm>
            <a:off x="6138615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21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607660" y="5181600"/>
            <a:ext cx="1422040" cy="15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6" name="TextBox 95"/>
          <p:cNvSpPr txBox="1"/>
          <p:nvPr/>
        </p:nvSpPr>
        <p:spPr>
          <a:xfrm>
            <a:off x="7637286" y="6519929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7F7E7E"/>
                </a:solidFill>
              </a:rPr>
              <a:t>.10s</a:t>
            </a:r>
            <a:endParaRPr lang="en-US" sz="1000" dirty="0">
              <a:solidFill>
                <a:srgbClr val="7F7E7E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392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iniBatchKMeans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1642598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AffinityPropagatio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41270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MeanShift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639943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err="1" smtClean="0">
                <a:solidFill>
                  <a:srgbClr val="7F7E7E"/>
                </a:solidFill>
              </a:rPr>
              <a:t>SpectralClustering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138615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Ward</a:t>
            </a:r>
            <a:endParaRPr lang="en-US" sz="1000" b="1" dirty="0">
              <a:solidFill>
                <a:srgbClr val="7F7E7E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637286" y="228600"/>
            <a:ext cx="13627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 smtClean="0">
                <a:solidFill>
                  <a:srgbClr val="7F7E7E"/>
                </a:solidFill>
              </a:rPr>
              <a:t>DBSCAN</a:t>
            </a:r>
            <a:endParaRPr lang="en-US" sz="1000" b="1" dirty="0">
              <a:solidFill>
                <a:srgbClr val="7F7E7E"/>
              </a:solidFill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1752600" y="457200"/>
            <a:ext cx="1185755" cy="1245801"/>
            <a:chOff x="1752600" y="457200"/>
            <a:chExt cx="1185755" cy="1245801"/>
          </a:xfrm>
        </p:grpSpPr>
        <p:pic>
          <p:nvPicPr>
            <p:cNvPr id="115" name="Picture 114"/>
            <p:cNvPicPr>
              <a:picLocks noChangeAspect="1"/>
            </p:cNvPicPr>
            <p:nvPr/>
          </p:nvPicPr>
          <p:blipFill rotWithShape="1">
            <a:blip r:embed="rId6"/>
            <a:srcRect l="3497"/>
            <a:stretch/>
          </p:blipFill>
          <p:spPr>
            <a:xfrm>
              <a:off x="1752600" y="457200"/>
              <a:ext cx="1185755" cy="1219200"/>
            </a:xfrm>
            <a:prstGeom prst="rect">
              <a:avLst/>
            </a:prstGeom>
          </p:spPr>
        </p:pic>
        <p:sp>
          <p:nvSpPr>
            <p:cNvPr id="117" name="Rectangle 116"/>
            <p:cNvSpPr/>
            <p:nvPr/>
          </p:nvSpPr>
          <p:spPr>
            <a:xfrm>
              <a:off x="2631502" y="1569651"/>
              <a:ext cx="306853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3212253" y="457200"/>
            <a:ext cx="1220823" cy="1219200"/>
            <a:chOff x="3198777" y="457200"/>
            <a:chExt cx="1220823" cy="1219200"/>
          </a:xfrm>
        </p:grpSpPr>
        <p:pic>
          <p:nvPicPr>
            <p:cNvPr id="119" name="Picture 118"/>
            <p:cNvPicPr>
              <a:picLocks noChangeAspect="1"/>
            </p:cNvPicPr>
            <p:nvPr/>
          </p:nvPicPr>
          <p:blipFill rotWithShape="1">
            <a:blip r:embed="rId7"/>
            <a:srcRect r="2160"/>
            <a:stretch/>
          </p:blipFill>
          <p:spPr>
            <a:xfrm>
              <a:off x="3198777" y="457200"/>
              <a:ext cx="1220823" cy="1219200"/>
            </a:xfrm>
            <a:prstGeom prst="rect">
              <a:avLst/>
            </a:prstGeom>
          </p:spPr>
        </p:pic>
        <p:sp>
          <p:nvSpPr>
            <p:cNvPr id="120" name="Rectangle 119"/>
            <p:cNvSpPr/>
            <p:nvPr/>
          </p:nvSpPr>
          <p:spPr>
            <a:xfrm>
              <a:off x="4121113" y="15430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711737" y="494527"/>
            <a:ext cx="1219200" cy="1219200"/>
            <a:chOff x="4724400" y="494527"/>
            <a:chExt cx="1219200" cy="1219200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8"/>
            <a:srcRect l="596" r="943"/>
            <a:stretch/>
          </p:blipFill>
          <p:spPr>
            <a:xfrm>
              <a:off x="4724400" y="494527"/>
              <a:ext cx="1219200" cy="1219200"/>
            </a:xfrm>
            <a:prstGeom prst="rect">
              <a:avLst/>
            </a:prstGeom>
          </p:spPr>
        </p:pic>
        <p:sp>
          <p:nvSpPr>
            <p:cNvPr id="123" name="Rectangle 122"/>
            <p:cNvSpPr/>
            <p:nvPr/>
          </p:nvSpPr>
          <p:spPr>
            <a:xfrm>
              <a:off x="5645113" y="1580377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06944" y="509201"/>
            <a:ext cx="1226130" cy="1200150"/>
            <a:chOff x="6206944" y="509201"/>
            <a:chExt cx="1226130" cy="1200150"/>
          </a:xfrm>
        </p:grpSpPr>
        <p:pic>
          <p:nvPicPr>
            <p:cNvPr id="126" name="Picture 125"/>
            <p:cNvPicPr>
              <a:picLocks noChangeAspect="1"/>
            </p:cNvPicPr>
            <p:nvPr/>
          </p:nvPicPr>
          <p:blipFill rotWithShape="1">
            <a:blip r:embed="rId9"/>
            <a:srcRect l="1734" r="-1"/>
            <a:stretch/>
          </p:blipFill>
          <p:spPr>
            <a:xfrm>
              <a:off x="6206944" y="509201"/>
              <a:ext cx="1226130" cy="1200150"/>
            </a:xfrm>
            <a:prstGeom prst="rect">
              <a:avLst/>
            </a:prstGeom>
          </p:spPr>
        </p:pic>
        <p:sp>
          <p:nvSpPr>
            <p:cNvPr id="127" name="Rectangle 126"/>
            <p:cNvSpPr/>
            <p:nvPr/>
          </p:nvSpPr>
          <p:spPr>
            <a:xfrm>
              <a:off x="7134587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718605" y="458401"/>
            <a:ext cx="1200150" cy="1219200"/>
            <a:chOff x="7698581" y="452051"/>
            <a:chExt cx="1200150" cy="1219200"/>
          </a:xfrm>
        </p:grpSpPr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10"/>
            <a:srcRect l="1563"/>
            <a:stretch/>
          </p:blipFill>
          <p:spPr>
            <a:xfrm>
              <a:off x="7698581" y="452051"/>
              <a:ext cx="1200150" cy="1219200"/>
            </a:xfrm>
            <a:prstGeom prst="rect">
              <a:avLst/>
            </a:prstGeom>
          </p:spPr>
        </p:pic>
        <p:sp>
          <p:nvSpPr>
            <p:cNvPr id="130" name="Rectangle 129"/>
            <p:cNvSpPr/>
            <p:nvPr/>
          </p:nvSpPr>
          <p:spPr>
            <a:xfrm>
              <a:off x="8600244" y="15379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215720" y="2061776"/>
            <a:ext cx="1219200" cy="1228725"/>
            <a:chOff x="215720" y="2061776"/>
            <a:chExt cx="1219200" cy="1228725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15720" y="2061776"/>
              <a:ext cx="1219200" cy="1228725"/>
            </a:xfrm>
            <a:prstGeom prst="rect">
              <a:avLst/>
            </a:prstGeom>
          </p:spPr>
        </p:pic>
        <p:sp>
          <p:nvSpPr>
            <p:cNvPr id="133" name="Rectangle 132"/>
            <p:cNvSpPr/>
            <p:nvPr/>
          </p:nvSpPr>
          <p:spPr>
            <a:xfrm>
              <a:off x="1204913" y="3190875"/>
              <a:ext cx="230007" cy="996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1720849" y="2041525"/>
            <a:ext cx="1222267" cy="1231900"/>
            <a:chOff x="1720849" y="2041525"/>
            <a:chExt cx="1222267" cy="1231900"/>
          </a:xfrm>
        </p:grpSpPr>
        <p:pic>
          <p:nvPicPr>
            <p:cNvPr id="135" name="Picture 134"/>
            <p:cNvPicPr>
              <a:picLocks noChangeAspect="1"/>
            </p:cNvPicPr>
            <p:nvPr/>
          </p:nvPicPr>
          <p:blipFill rotWithShape="1">
            <a:blip r:embed="rId12"/>
            <a:srcRect l="1291" t="1272" b="1"/>
            <a:stretch/>
          </p:blipFill>
          <p:spPr>
            <a:xfrm>
              <a:off x="1720849" y="2041525"/>
              <a:ext cx="1222267" cy="1231900"/>
            </a:xfrm>
            <a:prstGeom prst="rect">
              <a:avLst/>
            </a:prstGeom>
          </p:spPr>
        </p:pic>
        <p:sp>
          <p:nvSpPr>
            <p:cNvPr id="136" name="Rectangle 135"/>
            <p:cNvSpPr/>
            <p:nvPr/>
          </p:nvSpPr>
          <p:spPr>
            <a:xfrm>
              <a:off x="2631502" y="3169851"/>
              <a:ext cx="311614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244295" y="3642926"/>
            <a:ext cx="1190625" cy="1171575"/>
            <a:chOff x="244295" y="3642926"/>
            <a:chExt cx="1190625" cy="1171575"/>
          </a:xfrm>
        </p:grpSpPr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4295" y="3642926"/>
              <a:ext cx="1190625" cy="1171575"/>
            </a:xfrm>
            <a:prstGeom prst="rect">
              <a:avLst/>
            </a:prstGeom>
          </p:spPr>
        </p:pic>
        <p:sp>
          <p:nvSpPr>
            <p:cNvPr id="139" name="Rectangle 138"/>
            <p:cNvSpPr/>
            <p:nvPr/>
          </p:nvSpPr>
          <p:spPr>
            <a:xfrm>
              <a:off x="1136433" y="468115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4"/>
          <a:srcRect r="4809" b="6589"/>
          <a:stretch/>
        </p:blipFill>
        <p:spPr>
          <a:xfrm>
            <a:off x="111289" y="5232656"/>
            <a:ext cx="1428062" cy="1234566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19696" y="5232475"/>
            <a:ext cx="1408594" cy="1239690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4093" y="5232834"/>
            <a:ext cx="1397142" cy="1229446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9945" y="5232114"/>
            <a:ext cx="1362786" cy="1249936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21438" y="5233196"/>
            <a:ext cx="1397142" cy="121919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625836" y="5233196"/>
            <a:ext cx="1385690" cy="1219198"/>
          </a:xfrm>
          <a:prstGeom prst="rect">
            <a:avLst/>
          </a:prstGeom>
        </p:spPr>
      </p:pic>
      <p:grpSp>
        <p:nvGrpSpPr>
          <p:cNvPr id="149" name="Group 148"/>
          <p:cNvGrpSpPr/>
          <p:nvPr/>
        </p:nvGrpSpPr>
        <p:grpSpPr>
          <a:xfrm>
            <a:off x="1766780" y="3642926"/>
            <a:ext cx="1114425" cy="1162050"/>
            <a:chOff x="1766780" y="3642926"/>
            <a:chExt cx="1114425" cy="1162050"/>
          </a:xfrm>
        </p:grpSpPr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766780" y="3642926"/>
              <a:ext cx="1114425" cy="1162050"/>
            </a:xfrm>
            <a:prstGeom prst="rect">
              <a:avLst/>
            </a:prstGeom>
          </p:spPr>
        </p:pic>
        <p:sp>
          <p:nvSpPr>
            <p:cNvPr id="148" name="Rectangle 147"/>
            <p:cNvSpPr/>
            <p:nvPr/>
          </p:nvSpPr>
          <p:spPr>
            <a:xfrm>
              <a:off x="2582718" y="467162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3274976" y="3642926"/>
            <a:ext cx="1095375" cy="1200150"/>
            <a:chOff x="3274976" y="3664934"/>
            <a:chExt cx="1095375" cy="1200150"/>
          </a:xfrm>
        </p:grpSpPr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274976" y="3664934"/>
              <a:ext cx="1095375" cy="1200150"/>
            </a:xfrm>
            <a:prstGeom prst="rect">
              <a:avLst/>
            </a:prstGeom>
          </p:spPr>
        </p:pic>
        <p:sp>
          <p:nvSpPr>
            <p:cNvPr id="151" name="Rectangle 150"/>
            <p:cNvSpPr/>
            <p:nvPr/>
          </p:nvSpPr>
          <p:spPr>
            <a:xfrm>
              <a:off x="4071864" y="473173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4778412" y="3642926"/>
            <a:ext cx="1085850" cy="1200150"/>
            <a:chOff x="4778412" y="3654756"/>
            <a:chExt cx="1085850" cy="1200150"/>
          </a:xfrm>
        </p:grpSpPr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778412" y="3654756"/>
              <a:ext cx="1085850" cy="1200150"/>
            </a:xfrm>
            <a:prstGeom prst="rect">
              <a:avLst/>
            </a:prstGeom>
          </p:spPr>
        </p:pic>
        <p:sp>
          <p:nvSpPr>
            <p:cNvPr id="154" name="Rectangle 153"/>
            <p:cNvSpPr/>
            <p:nvPr/>
          </p:nvSpPr>
          <p:spPr>
            <a:xfrm>
              <a:off x="5565775" y="4721556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305659" y="3642926"/>
            <a:ext cx="1028700" cy="1171575"/>
            <a:chOff x="6305659" y="3718289"/>
            <a:chExt cx="1028700" cy="1171575"/>
          </a:xfrm>
        </p:grpSpPr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305659" y="3718289"/>
              <a:ext cx="1028700" cy="1171575"/>
            </a:xfrm>
            <a:prstGeom prst="rect">
              <a:avLst/>
            </a:prstGeom>
          </p:spPr>
        </p:pic>
        <p:sp>
          <p:nvSpPr>
            <p:cNvPr id="157" name="Rectangle 156"/>
            <p:cNvSpPr/>
            <p:nvPr/>
          </p:nvSpPr>
          <p:spPr>
            <a:xfrm>
              <a:off x="7035872" y="4756514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pic>
        <p:nvPicPr>
          <p:cNvPr id="159" name="Picture 158"/>
          <p:cNvPicPr>
            <a:picLocks noChangeAspect="1"/>
          </p:cNvPicPr>
          <p:nvPr/>
        </p:nvPicPr>
        <p:blipFill rotWithShape="1">
          <a:blip r:embed="rId24"/>
          <a:srcRect r="1655"/>
          <a:stretch/>
        </p:blipFill>
        <p:spPr>
          <a:xfrm>
            <a:off x="7884677" y="3642926"/>
            <a:ext cx="1011673" cy="1190625"/>
          </a:xfrm>
          <a:prstGeom prst="rect">
            <a:avLst/>
          </a:prstGeom>
        </p:spPr>
      </p:pic>
      <p:grpSp>
        <p:nvGrpSpPr>
          <p:cNvPr id="173" name="Group 172"/>
          <p:cNvGrpSpPr/>
          <p:nvPr/>
        </p:nvGrpSpPr>
        <p:grpSpPr>
          <a:xfrm>
            <a:off x="209153" y="452051"/>
            <a:ext cx="1279760" cy="1257300"/>
            <a:chOff x="209153" y="452051"/>
            <a:chExt cx="1279760" cy="1257300"/>
          </a:xfrm>
        </p:grpSpPr>
        <p:pic>
          <p:nvPicPr>
            <p:cNvPr id="114" name="Picture 113"/>
            <p:cNvPicPr>
              <a:picLocks noChangeAspect="1"/>
            </p:cNvPicPr>
            <p:nvPr/>
          </p:nvPicPr>
          <p:blipFill rotWithShape="1">
            <a:blip r:embed="rId25"/>
            <a:srcRect r="2020"/>
            <a:stretch/>
          </p:blipFill>
          <p:spPr>
            <a:xfrm>
              <a:off x="209153" y="452051"/>
              <a:ext cx="1232334" cy="1257300"/>
            </a:xfrm>
            <a:prstGeom prst="rect">
              <a:avLst/>
            </a:prstGeom>
          </p:spPr>
        </p:pic>
        <p:sp>
          <p:nvSpPr>
            <p:cNvPr id="116" name="Rectangle 115"/>
            <p:cNvSpPr/>
            <p:nvPr/>
          </p:nvSpPr>
          <p:spPr>
            <a:xfrm>
              <a:off x="1190426" y="1576001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3217827" y="2041525"/>
            <a:ext cx="1209675" cy="1200150"/>
            <a:chOff x="3217827" y="2041525"/>
            <a:chExt cx="1209675" cy="1200150"/>
          </a:xfrm>
        </p:grpSpPr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217827" y="2041525"/>
              <a:ext cx="1209675" cy="1200150"/>
            </a:xfrm>
            <a:prstGeom prst="rect">
              <a:avLst/>
            </a:prstGeom>
          </p:spPr>
        </p:pic>
        <p:sp>
          <p:nvSpPr>
            <p:cNvPr id="162" name="Rectangle 161"/>
            <p:cNvSpPr/>
            <p:nvPr/>
          </p:nvSpPr>
          <p:spPr>
            <a:xfrm>
              <a:off x="4198144" y="3138101"/>
              <a:ext cx="229358" cy="1035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12494" y="2041525"/>
            <a:ext cx="1208882" cy="1209675"/>
            <a:chOff x="4712494" y="2041525"/>
            <a:chExt cx="1208882" cy="1209675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27"/>
            <a:srcRect l="1575" r="2275"/>
            <a:stretch/>
          </p:blipFill>
          <p:spPr>
            <a:xfrm>
              <a:off x="4712494" y="2041525"/>
              <a:ext cx="1208882" cy="1209675"/>
            </a:xfrm>
            <a:prstGeom prst="rect">
              <a:avLst/>
            </a:prstGeom>
          </p:spPr>
        </p:pic>
        <p:sp>
          <p:nvSpPr>
            <p:cNvPr id="165" name="Rectangle 164"/>
            <p:cNvSpPr/>
            <p:nvPr/>
          </p:nvSpPr>
          <p:spPr>
            <a:xfrm>
              <a:off x="5622889" y="3117850"/>
              <a:ext cx="298487" cy="133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6226969" y="2041525"/>
            <a:ext cx="1207403" cy="1209675"/>
            <a:chOff x="6226969" y="2041525"/>
            <a:chExt cx="1207403" cy="1209675"/>
          </a:xfrm>
        </p:grpSpPr>
        <p:pic>
          <p:nvPicPr>
            <p:cNvPr id="167" name="Picture 166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68" name="Rectangle 167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7714979" y="2041525"/>
            <a:ext cx="1207403" cy="1209675"/>
            <a:chOff x="6226969" y="2041525"/>
            <a:chExt cx="1207403" cy="1209675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28"/>
            <a:srcRect l="1735"/>
            <a:stretch/>
          </p:blipFill>
          <p:spPr>
            <a:xfrm>
              <a:off x="6226969" y="2041525"/>
              <a:ext cx="1207403" cy="1209675"/>
            </a:xfrm>
            <a:prstGeom prst="rect">
              <a:avLst/>
            </a:prstGeom>
          </p:spPr>
        </p:pic>
        <p:sp>
          <p:nvSpPr>
            <p:cNvPr id="172" name="Rectangle 171"/>
            <p:cNvSpPr/>
            <p:nvPr/>
          </p:nvSpPr>
          <p:spPr>
            <a:xfrm>
              <a:off x="7239000" y="3169852"/>
              <a:ext cx="195372" cy="813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74" name="Rectangle 173"/>
          <p:cNvSpPr/>
          <p:nvPr/>
        </p:nvSpPr>
        <p:spPr>
          <a:xfrm>
            <a:off x="4588234" y="381000"/>
            <a:ext cx="1469046" cy="6324600"/>
          </a:xfrm>
          <a:prstGeom prst="rect">
            <a:avLst/>
          </a:prstGeom>
          <a:noFill/>
          <a:ln w="76200">
            <a:solidFill>
              <a:srgbClr val="F69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0607396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367DF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68314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167204"/>
          </a:xfrm>
          <a:prstGeom prst="rect">
            <a:avLst/>
          </a:prstGeom>
          <a:blipFill>
            <a:blip r:embed="rId2" cstate="print"/>
            <a:srcRect/>
            <a:stretch>
              <a:fillRect b="-39470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1519895"/>
            <a:ext cx="7593972" cy="1826034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 smtClean="0">
                <a:solidFill>
                  <a:srgbClr val="F69545"/>
                </a:solidFill>
                <a:cs typeface="Calibri"/>
              </a:rPr>
              <a:t>What </a:t>
            </a: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does clustering</a:t>
            </a:r>
          </a:p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with cosine distance</a:t>
            </a:r>
          </a:p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look like?</a:t>
            </a:r>
          </a:p>
        </p:txBody>
      </p:sp>
    </p:spTree>
    <p:extLst>
      <p:ext uri="{BB962C8B-B14F-4D97-AF65-F5344CB8AC3E}">
        <p14:creationId xmlns:p14="http://schemas.microsoft.com/office/powerpoint/2010/main" val="3175088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4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15493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272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object 13"/>
          <p:cNvSpPr/>
          <p:nvPr/>
        </p:nvSpPr>
        <p:spPr>
          <a:xfrm>
            <a:off x="2317464" y="867275"/>
            <a:ext cx="4948869" cy="5124998"/>
          </a:xfrm>
          <a:custGeom>
            <a:avLst/>
            <a:gdLst/>
            <a:ahLst/>
            <a:cxnLst/>
            <a:rect l="l" t="t" r="r" b="b"/>
            <a:pathLst>
              <a:path w="4948869" h="5124998">
                <a:moveTo>
                  <a:pt x="4430965" y="0"/>
                </a:moveTo>
                <a:lnTo>
                  <a:pt x="0" y="5124998"/>
                </a:lnTo>
                <a:lnTo>
                  <a:pt x="4948869" y="498148"/>
                </a:lnTo>
                <a:lnTo>
                  <a:pt x="4430965" y="0"/>
                </a:lnTo>
                <a:close/>
              </a:path>
            </a:pathLst>
          </a:custGeom>
          <a:solidFill>
            <a:srgbClr val="FAA757">
              <a:alpha val="71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5"/>
          <p:cNvSpPr txBox="1"/>
          <p:nvPr/>
        </p:nvSpPr>
        <p:spPr>
          <a:xfrm>
            <a:off x="2101916" y="369650"/>
            <a:ext cx="6889684" cy="80791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>
                <a:solidFill>
                  <a:srgbClr val="4E81BC"/>
                </a:solidFill>
                <a:latin typeface="+mj-lt"/>
                <a:cs typeface="Calibri"/>
              </a:rPr>
              <a:t>DBSCAN</a:t>
            </a:r>
          </a:p>
          <a:p>
            <a:pPr marL="12700">
              <a:lnSpc>
                <a:spcPts val="2770"/>
              </a:lnSpc>
            </a:pPr>
            <a:r>
              <a:rPr lang="en-US" sz="3200" baseline="1137" dirty="0" smtClean="0">
                <a:solidFill>
                  <a:srgbClr val="7F7E7E"/>
                </a:solidFill>
                <a:cs typeface="Calibri"/>
              </a:rPr>
              <a:t>With cosine distance</a:t>
            </a:r>
            <a:r>
              <a:rPr lang="en-US" sz="3200" dirty="0" smtClean="0">
                <a:solidFill>
                  <a:srgbClr val="7F7E7E"/>
                </a:solidFill>
                <a:cs typeface="Calibri"/>
              </a:rPr>
              <a:t> </a:t>
            </a:r>
            <a:endParaRPr lang="en-US" sz="3200" baseline="1137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78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57150">
            <a:solidFill>
              <a:srgbClr val="F695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801612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82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bject 5"/>
          <p:cNvSpPr txBox="1"/>
          <p:nvPr/>
        </p:nvSpPr>
        <p:spPr>
          <a:xfrm>
            <a:off x="2101916" y="369650"/>
            <a:ext cx="6889684" cy="44884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marR="41909">
              <a:lnSpc>
                <a:spcPts val="3454"/>
              </a:lnSpc>
              <a:spcBef>
                <a:spcPts val="172"/>
              </a:spcBef>
            </a:pPr>
            <a:r>
              <a:rPr lang="en-US" sz="4800" baseline="2560" dirty="0" smtClean="0">
                <a:solidFill>
                  <a:srgbClr val="4E81BC"/>
                </a:solidFill>
                <a:latin typeface="+mj-lt"/>
                <a:cs typeface="Calibri"/>
              </a:rPr>
              <a:t>Potential clusters with cosine distance </a:t>
            </a:r>
          </a:p>
        </p:txBody>
      </p:sp>
      <p:sp>
        <p:nvSpPr>
          <p:cNvPr id="90" name="object 3"/>
          <p:cNvSpPr txBox="1"/>
          <p:nvPr/>
        </p:nvSpPr>
        <p:spPr>
          <a:xfrm>
            <a:off x="5144320" y="6116930"/>
            <a:ext cx="110723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latin typeface="Calibri"/>
                <a:cs typeface="Calibri"/>
              </a:rPr>
              <a:t>Word 2 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91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lang="en-US" sz="3600" spc="0" baseline="2275" dirty="0" smtClean="0">
                <a:solidFill>
                  <a:srgbClr val="7F7E7E"/>
                </a:solidFill>
                <a:cs typeface="Calibri"/>
              </a:rPr>
              <a:t>Word 1</a:t>
            </a:r>
            <a:endParaRPr sz="2400" dirty="0">
              <a:cs typeface="Calibri"/>
            </a:endParaRPr>
          </a:p>
        </p:txBody>
      </p:sp>
      <p:sp>
        <p:nvSpPr>
          <p:cNvPr id="125" name="object 67"/>
          <p:cNvSpPr/>
          <p:nvPr/>
        </p:nvSpPr>
        <p:spPr>
          <a:xfrm>
            <a:off x="2383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70"/>
          <p:cNvSpPr/>
          <p:nvPr/>
        </p:nvSpPr>
        <p:spPr>
          <a:xfrm>
            <a:off x="2383437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6094C9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67"/>
          <p:cNvSpPr/>
          <p:nvPr/>
        </p:nvSpPr>
        <p:spPr>
          <a:xfrm>
            <a:off x="2383437" y="1666264"/>
            <a:ext cx="0" cy="4277336"/>
          </a:xfrm>
          <a:custGeom>
            <a:avLst/>
            <a:gdLst/>
            <a:ahLst/>
            <a:cxnLst/>
            <a:rect l="l" t="t" r="r" b="b"/>
            <a:pathLst>
              <a:path h="4054670">
                <a:moveTo>
                  <a:pt x="0" y="4054670"/>
                </a:moveTo>
                <a:lnTo>
                  <a:pt x="0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0"/>
          <p:cNvSpPr/>
          <p:nvPr/>
        </p:nvSpPr>
        <p:spPr>
          <a:xfrm>
            <a:off x="2383437" y="5943600"/>
            <a:ext cx="6492933" cy="0"/>
          </a:xfrm>
          <a:custGeom>
            <a:avLst/>
            <a:gdLst/>
            <a:ahLst/>
            <a:cxnLst/>
            <a:rect l="l" t="t" r="r" b="b"/>
            <a:pathLst>
              <a:path w="6303362">
                <a:moveTo>
                  <a:pt x="0" y="0"/>
                </a:moveTo>
                <a:lnTo>
                  <a:pt x="6303362" y="0"/>
                </a:lnTo>
              </a:path>
            </a:pathLst>
          </a:cu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cxnSp>
        <p:nvCxnSpPr>
          <p:cNvPr id="132" name="Straight Connector 131"/>
          <p:cNvCxnSpPr/>
          <p:nvPr/>
        </p:nvCxnSpPr>
        <p:spPr>
          <a:xfrm flipV="1">
            <a:off x="2393784" y="1788281"/>
            <a:ext cx="5338853" cy="4147777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135" name="Straight Connector 134"/>
          <p:cNvCxnSpPr/>
          <p:nvPr/>
        </p:nvCxnSpPr>
        <p:spPr>
          <a:xfrm flipV="1">
            <a:off x="2426674" y="3437919"/>
            <a:ext cx="6304731" cy="2493460"/>
          </a:xfrm>
          <a:prstGeom prst="line">
            <a:avLst/>
          </a:prstGeom>
          <a:ln w="25399">
            <a:solidFill>
              <a:srgbClr val="7030A0"/>
            </a:solidFill>
            <a:headEnd type="non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68572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034708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56907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92365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331527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F7D22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25712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528670" y="26566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40250" y="40093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Randomly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assign two cluster centers</a:t>
            </a:r>
            <a:r>
              <a:rPr lang="en-US" sz="4800" spc="0" dirty="0" smtClean="0">
                <a:solidFill>
                  <a:srgbClr val="7F7E7E"/>
                </a:solidFill>
                <a:latin typeface="+mj-lt"/>
                <a:cs typeface="Calibri"/>
              </a:rPr>
              <a:t> </a:t>
            </a:r>
            <a:endParaRPr sz="48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640250" y="4009392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528670" y="265668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93" name="Group 9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403247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FAA757"/>
          </a:solidFill>
          <a:ln w="28575">
            <a:solidFill>
              <a:srgbClr val="C1803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227716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49B9CF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266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80313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90463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853921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4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>
                <a:latin typeface="+mj-lt"/>
              </a:rPr>
              <a:t>If closest </a:t>
            </a:r>
            <a:r>
              <a:rPr lang="en-US" dirty="0" smtClean="0">
                <a:latin typeface="+mj-lt"/>
              </a:rPr>
              <a:t>pair are clusters, same: merge</a:t>
            </a:r>
            <a:endParaRPr dirty="0">
              <a:latin typeface="+mj-lt"/>
            </a:endParaRPr>
          </a:p>
        </p:txBody>
      </p:sp>
      <p:sp>
        <p:nvSpPr>
          <p:cNvPr id="8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4BAF39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67504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7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6094C9"/>
          </a:solidFill>
          <a:ln w="28575">
            <a:solidFill>
              <a:srgbClr val="46719B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40296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6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F04C4D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21383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5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259326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856312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7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5"/>
                </a:lnTo>
                <a:lnTo>
                  <a:pt x="285311" y="282564"/>
                </a:lnTo>
                <a:lnTo>
                  <a:pt x="293194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528670" y="2656686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640250" y="4009392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101915" y="369650"/>
            <a:ext cx="6280085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01915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6640250" y="4009392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3528670" y="2656686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8" name="Group 87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8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622791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80101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2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710964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1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93621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/>
          <p:nvPr/>
        </p:nvSpPr>
        <p:spPr>
          <a:xfrm>
            <a:off x="1311123" y="1334850"/>
            <a:ext cx="7604526" cy="45675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Stop eithe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r</a:t>
            </a: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endParaRPr lang="en-US" sz="4800" baseline="1706" dirty="0" smtClean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when you reach the correct </a:t>
            </a:r>
            <a:r>
              <a:rPr lang="en-US" sz="4800" baseline="2560" dirty="0" err="1">
                <a:solidFill>
                  <a:srgbClr val="F69545"/>
                </a:solidFill>
                <a:cs typeface="Calibri"/>
              </a:rPr>
              <a:t>num_clusters</a:t>
            </a:r>
            <a:r>
              <a:rPr lang="en-US" sz="4800" baseline="2560" dirty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000" baseline="1365" dirty="0">
                <a:solidFill>
                  <a:srgbClr val="7F7E7E"/>
                </a:solidFill>
                <a:cs typeface="Calibri"/>
              </a:rPr>
              <a:t>(next step would mean fewer clusters than desired</a:t>
            </a:r>
            <a:r>
              <a:rPr lang="en-US" sz="4000" baseline="1365" dirty="0" smtClean="0">
                <a:solidFill>
                  <a:srgbClr val="7F7E7E"/>
                </a:solidFill>
                <a:cs typeface="Calibri"/>
              </a:rPr>
              <a:t>)</a:t>
            </a: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endParaRPr lang="en-US" sz="4800" baseline="1365" dirty="0" smtClean="0">
              <a:solidFill>
                <a:srgbClr val="7F7E7E"/>
              </a:solidFill>
              <a:cs typeface="Calibri"/>
            </a:endParaRP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r>
              <a:rPr lang="en-US" sz="4800" baseline="1365" dirty="0" smtClean="0">
                <a:solidFill>
                  <a:srgbClr val="7F7E7E"/>
                </a:solidFill>
                <a:cs typeface="Calibri"/>
              </a:rPr>
              <a:t>Or</a:t>
            </a:r>
          </a:p>
          <a:p>
            <a:pPr marL="0" lvl="2">
              <a:lnSpc>
                <a:spcPts val="3400"/>
              </a:lnSpc>
              <a:spcBef>
                <a:spcPts val="170"/>
              </a:spcBef>
              <a:buSzPct val="80000"/>
            </a:pPr>
            <a:endParaRPr lang="en-US" sz="4800" baseline="1365" dirty="0" smtClean="0">
              <a:solidFill>
                <a:srgbClr val="7F7E7E"/>
              </a:solidFill>
              <a:cs typeface="Calibri"/>
            </a:endParaRPr>
          </a:p>
          <a:p>
            <a:pPr marL="496888" lvl="2" indent="-496888">
              <a:lnSpc>
                <a:spcPts val="3400"/>
              </a:lnSpc>
              <a:spcBef>
                <a:spcPts val="170"/>
              </a:spcBef>
              <a:buSzPct val="80000"/>
              <a:buFont typeface="Calibri" panose="020F0502020204030204" pitchFamily="34" charset="0"/>
              <a:buChar char="−"/>
            </a:pPr>
            <a:r>
              <a:rPr lang="en-US" sz="4800" baseline="2560" dirty="0" smtClean="0">
                <a:solidFill>
                  <a:srgbClr val="7F7E7E"/>
                </a:solidFill>
                <a:cs typeface="Calibri"/>
              </a:rPr>
              <a:t>when </a:t>
            </a:r>
            <a:r>
              <a:rPr lang="en-US" sz="4800" baseline="2560" dirty="0">
                <a:solidFill>
                  <a:srgbClr val="9BBA58"/>
                </a:solidFill>
                <a:cs typeface="Calibri"/>
              </a:rPr>
              <a:t>min cluster distance </a:t>
            </a:r>
            <a:r>
              <a:rPr lang="en-US" sz="4800" baseline="2560" dirty="0">
                <a:solidFill>
                  <a:srgbClr val="7F7E7E"/>
                </a:solidFill>
                <a:cs typeface="Calibri"/>
              </a:rPr>
              <a:t>reaches a </a:t>
            </a:r>
            <a:r>
              <a:rPr lang="en-US" sz="4800" baseline="2560" dirty="0" smtClean="0">
                <a:solidFill>
                  <a:srgbClr val="7F7E7E"/>
                </a:solidFill>
                <a:cs typeface="Calibri"/>
              </a:rPr>
              <a:t>set value</a:t>
            </a:r>
            <a:r>
              <a:rPr lang="en-US" sz="4800" dirty="0" smtClean="0">
                <a:cs typeface="Calibri"/>
              </a:rPr>
              <a:t> </a:t>
            </a:r>
            <a:r>
              <a:rPr lang="en-US" sz="4000" baseline="2730" dirty="0" smtClean="0">
                <a:solidFill>
                  <a:srgbClr val="7F7E7E"/>
                </a:solidFill>
                <a:cs typeface="Calibri"/>
              </a:rPr>
              <a:t>(next </a:t>
            </a:r>
            <a:r>
              <a:rPr lang="en-US" sz="4000" baseline="2730" dirty="0">
                <a:solidFill>
                  <a:srgbClr val="7F7E7E"/>
                </a:solidFill>
                <a:cs typeface="Calibri"/>
              </a:rPr>
              <a:t>step would mean merging along too large a distance</a:t>
            </a:r>
            <a:r>
              <a:rPr lang="en-US" sz="4000" baseline="2730" dirty="0" smtClean="0">
                <a:solidFill>
                  <a:srgbClr val="7F7E7E"/>
                </a:solidFill>
                <a:cs typeface="Calibri"/>
              </a:rPr>
              <a:t>)</a:t>
            </a:r>
            <a:endParaRPr lang="en-US" sz="4000" dirty="0">
              <a:cs typeface="Calibri"/>
            </a:endParaRPr>
          </a:p>
        </p:txBody>
      </p:sp>
      <p:sp>
        <p:nvSpPr>
          <p:cNvPr id="12" name="object 10"/>
          <p:cNvSpPr txBox="1"/>
          <p:nvPr/>
        </p:nvSpPr>
        <p:spPr>
          <a:xfrm>
            <a:off x="1311123" y="369650"/>
            <a:ext cx="7528076" cy="419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Agglomera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ti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ve</a:t>
            </a:r>
            <a:r>
              <a:rPr sz="4800" spc="-248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</a:t>
            </a:r>
            <a:r>
              <a:rPr lang="en-US"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</a:t>
            </a: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68968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410698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27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3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12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6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6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6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2961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650" dirty="0"/>
          </a:p>
          <a:p>
            <a:pPr marL="91440" algn="ctr">
              <a:lnSpc>
                <a:spcPct val="101725"/>
              </a:lnSpc>
            </a:pPr>
            <a:r>
              <a:rPr sz="6600" spc="0" dirty="0" smtClean="0">
                <a:solidFill>
                  <a:srgbClr val="FEFFFE"/>
                </a:solidFill>
                <a:latin typeface="Calibri"/>
                <a:cs typeface="Calibri"/>
              </a:rPr>
              <a:t>Stop. I want</a:t>
            </a:r>
            <a:endParaRPr sz="6600" dirty="0">
              <a:latin typeface="Calibri"/>
              <a:cs typeface="Calibri"/>
            </a:endParaRPr>
          </a:p>
          <a:p>
            <a:pPr marL="91440" algn="ctr">
              <a:lnSpc>
                <a:spcPts val="7900"/>
              </a:lnSpc>
              <a:spcBef>
                <a:spcPts val="395"/>
              </a:spcBef>
            </a:pPr>
            <a:r>
              <a:rPr sz="9900" spc="0" baseline="1654" dirty="0" smtClean="0">
                <a:solidFill>
                  <a:srgbClr val="FEFFFE"/>
                </a:solidFill>
                <a:latin typeface="Calibri"/>
                <a:cs typeface="Calibri"/>
              </a:rPr>
              <a:t>3 clusters.</a:t>
            </a:r>
            <a:endParaRPr sz="6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2131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2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3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6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8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9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931372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Hierarchical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87" name="object 11"/>
          <p:cNvSpPr txBox="1"/>
          <p:nvPr/>
        </p:nvSpPr>
        <p:spPr>
          <a:xfrm>
            <a:off x="2101916" y="8522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2700">
              <a:lnSpc>
                <a:spcPts val="3400"/>
              </a:lnSpc>
              <a:spcBef>
                <a:spcPts val="170"/>
              </a:spcBef>
              <a:defRPr sz="4800" spc="0" baseline="1706">
                <a:solidFill>
                  <a:srgbClr val="7F7E7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>
                <a:latin typeface="+mj-lt"/>
              </a:rPr>
              <a:t>Current </a:t>
            </a:r>
            <a:r>
              <a:rPr lang="en-US" dirty="0" err="1" smtClean="0">
                <a:solidFill>
                  <a:srgbClr val="F69545"/>
                </a:solidFill>
                <a:latin typeface="+mj-lt"/>
              </a:rPr>
              <a:t>num_clusters</a:t>
            </a:r>
            <a:r>
              <a:rPr lang="en-US" dirty="0" smtClean="0">
                <a:solidFill>
                  <a:srgbClr val="F69545"/>
                </a:solidFill>
                <a:latin typeface="+mj-lt"/>
              </a:rPr>
              <a:t> = 4</a:t>
            </a:r>
            <a:endParaRPr dirty="0">
              <a:solidFill>
                <a:srgbClr val="F69545"/>
              </a:solidFill>
              <a:latin typeface="+mj-lt"/>
            </a:endParaRPr>
          </a:p>
        </p:txBody>
      </p:sp>
      <p:sp>
        <p:nvSpPr>
          <p:cNvPr id="88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21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48" name="object 2"/>
          <p:cNvSpPr txBox="1"/>
          <p:nvPr/>
        </p:nvSpPr>
        <p:spPr>
          <a:xfrm>
            <a:off x="2961867" y="2573905"/>
            <a:ext cx="4738702" cy="2344280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ts val="650"/>
              </a:lnSpc>
              <a:spcBef>
                <a:spcPts val="25"/>
              </a:spcBef>
            </a:pPr>
            <a:endParaRPr sz="4000" dirty="0"/>
          </a:p>
          <a:p>
            <a:pPr marL="91440" algn="ctr">
              <a:lnSpc>
                <a:spcPct val="101725"/>
              </a:lnSpc>
            </a:pPr>
            <a:r>
              <a:rPr sz="4000" spc="0" dirty="0" smtClean="0">
                <a:solidFill>
                  <a:srgbClr val="FEFFFE"/>
                </a:solidFill>
                <a:latin typeface="Calibri"/>
                <a:cs typeface="Calibri"/>
              </a:rPr>
              <a:t>Stop. </a:t>
            </a:r>
            <a:r>
              <a:rPr lang="en-US" sz="4000" dirty="0">
                <a:solidFill>
                  <a:srgbClr val="FEFFFE"/>
                </a:solidFill>
                <a:cs typeface="Calibri"/>
              </a:rPr>
              <a:t>Don’t merge clusters farther than 2.765</a:t>
            </a:r>
          </a:p>
        </p:txBody>
      </p:sp>
    </p:spTree>
    <p:extLst>
      <p:ext uri="{BB962C8B-B14F-4D97-AF65-F5344CB8AC3E}">
        <p14:creationId xmlns:p14="http://schemas.microsoft.com/office/powerpoint/2010/main" val="2391194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3253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22455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83"/>
          <p:cNvSpPr/>
          <p:nvPr/>
        </p:nvSpPr>
        <p:spPr>
          <a:xfrm>
            <a:off x="4414373" y="548718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39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1"/>
                </a:lnTo>
                <a:lnTo>
                  <a:pt x="276595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7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1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2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0"/>
                </a:lnTo>
                <a:lnTo>
                  <a:pt x="182986" y="345647"/>
                </a:lnTo>
                <a:lnTo>
                  <a:pt x="196530" y="342927"/>
                </a:lnTo>
                <a:lnTo>
                  <a:pt x="209650" y="339005"/>
                </a:lnTo>
                <a:lnTo>
                  <a:pt x="222295" y="333937"/>
                </a:lnTo>
                <a:lnTo>
                  <a:pt x="234413" y="327778"/>
                </a:lnTo>
                <a:lnTo>
                  <a:pt x="245953" y="320584"/>
                </a:lnTo>
                <a:lnTo>
                  <a:pt x="256864" y="312410"/>
                </a:lnTo>
                <a:lnTo>
                  <a:pt x="267095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2"/>
                </a:lnTo>
                <a:lnTo>
                  <a:pt x="315366" y="218395"/>
                </a:lnTo>
                <a:lnTo>
                  <a:pt x="318312" y="203897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326963" y="34938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475579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47624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130533" y="40499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9" y="347111"/>
                </a:lnTo>
                <a:lnTo>
                  <a:pt x="182986" y="345648"/>
                </a:lnTo>
                <a:lnTo>
                  <a:pt x="196530" y="342928"/>
                </a:lnTo>
                <a:lnTo>
                  <a:pt x="209650" y="339006"/>
                </a:lnTo>
                <a:lnTo>
                  <a:pt x="222295" y="333938"/>
                </a:lnTo>
                <a:lnTo>
                  <a:pt x="234413" y="327779"/>
                </a:lnTo>
                <a:lnTo>
                  <a:pt x="245953" y="320585"/>
                </a:lnTo>
                <a:lnTo>
                  <a:pt x="256864" y="312411"/>
                </a:lnTo>
                <a:lnTo>
                  <a:pt x="267095" y="303312"/>
                </a:lnTo>
                <a:lnTo>
                  <a:pt x="276595" y="293345"/>
                </a:lnTo>
                <a:lnTo>
                  <a:pt x="285312" y="282563"/>
                </a:lnTo>
                <a:lnTo>
                  <a:pt x="293195" y="271024"/>
                </a:lnTo>
                <a:lnTo>
                  <a:pt x="300193" y="258782"/>
                </a:lnTo>
                <a:lnTo>
                  <a:pt x="306255" y="245893"/>
                </a:lnTo>
                <a:lnTo>
                  <a:pt x="311330" y="232413"/>
                </a:lnTo>
                <a:lnTo>
                  <a:pt x="315366" y="218396"/>
                </a:lnTo>
                <a:lnTo>
                  <a:pt x="318312" y="203898"/>
                </a:lnTo>
                <a:lnTo>
                  <a:pt x="320117" y="188974"/>
                </a:lnTo>
                <a:lnTo>
                  <a:pt x="320730" y="173681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4" y="120303"/>
                </a:lnTo>
                <a:lnTo>
                  <a:pt x="308335" y="106608"/>
                </a:lnTo>
                <a:lnTo>
                  <a:pt x="302648" y="93484"/>
                </a:lnTo>
                <a:lnTo>
                  <a:pt x="296006" y="80986"/>
                </a:lnTo>
                <a:lnTo>
                  <a:pt x="288458" y="69169"/>
                </a:lnTo>
                <a:lnTo>
                  <a:pt x="280057" y="58088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1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2"/>
                </a:lnTo>
                <a:lnTo>
                  <a:pt x="336274" y="144214"/>
                </a:lnTo>
                <a:lnTo>
                  <a:pt x="333315" y="130058"/>
                </a:lnTo>
                <a:lnTo>
                  <a:pt x="329259" y="116354"/>
                </a:lnTo>
                <a:lnTo>
                  <a:pt x="324157" y="103154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0"/>
                </a:lnTo>
                <a:lnTo>
                  <a:pt x="274361" y="37412"/>
                </a:lnTo>
                <a:lnTo>
                  <a:pt x="263332" y="29176"/>
                </a:lnTo>
                <a:lnTo>
                  <a:pt x="251657" y="21855"/>
                </a:lnTo>
                <a:lnTo>
                  <a:pt x="239384" y="15500"/>
                </a:lnTo>
                <a:lnTo>
                  <a:pt x="226566" y="10162"/>
                </a:lnTo>
                <a:lnTo>
                  <a:pt x="213251" y="5892"/>
                </a:lnTo>
                <a:lnTo>
                  <a:pt x="199490" y="2742"/>
                </a:lnTo>
                <a:lnTo>
                  <a:pt x="185332" y="763"/>
                </a:lnTo>
                <a:lnTo>
                  <a:pt x="170828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70"/>
                </a:lnTo>
                <a:lnTo>
                  <a:pt x="15114" y="101855"/>
                </a:lnTo>
                <a:lnTo>
                  <a:pt x="9909" y="115002"/>
                </a:lnTo>
                <a:lnTo>
                  <a:pt x="5745" y="128657"/>
                </a:lnTo>
                <a:lnTo>
                  <a:pt x="2673" y="142770"/>
                </a:lnTo>
                <a:lnTo>
                  <a:pt x="744" y="157290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7"/>
                </a:lnTo>
                <a:lnTo>
                  <a:pt x="2427" y="203145"/>
                </a:lnTo>
                <a:lnTo>
                  <a:pt x="5386" y="217302"/>
                </a:lnTo>
                <a:lnTo>
                  <a:pt x="9441" y="231005"/>
                </a:lnTo>
                <a:lnTo>
                  <a:pt x="14544" y="244205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2" y="280268"/>
                </a:lnTo>
                <a:lnTo>
                  <a:pt x="44421" y="290939"/>
                </a:lnTo>
                <a:lnTo>
                  <a:pt x="54007" y="300850"/>
                </a:lnTo>
                <a:lnTo>
                  <a:pt x="64339" y="309948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0"/>
                </a:lnTo>
                <a:lnTo>
                  <a:pt x="112134" y="337198"/>
                </a:lnTo>
                <a:lnTo>
                  <a:pt x="125449" y="341468"/>
                </a:lnTo>
                <a:lnTo>
                  <a:pt x="139210" y="344618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0"/>
                </a:lnTo>
                <a:lnTo>
                  <a:pt x="198081" y="344872"/>
                </a:lnTo>
                <a:lnTo>
                  <a:pt x="211885" y="341837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6"/>
                </a:lnTo>
                <a:lnTo>
                  <a:pt x="310251" y="270065"/>
                </a:lnTo>
                <a:lnTo>
                  <a:pt x="317390" y="258091"/>
                </a:lnTo>
                <a:lnTo>
                  <a:pt x="323587" y="245505"/>
                </a:lnTo>
                <a:lnTo>
                  <a:pt x="328792" y="232359"/>
                </a:lnTo>
                <a:lnTo>
                  <a:pt x="332955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6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038354" y="248300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1"/>
                </a:lnTo>
                <a:lnTo>
                  <a:pt x="4094" y="212849"/>
                </a:lnTo>
                <a:lnTo>
                  <a:pt x="7715" y="227059"/>
                </a:lnTo>
                <a:lnTo>
                  <a:pt x="12395" y="240753"/>
                </a:lnTo>
                <a:lnTo>
                  <a:pt x="18082" y="253878"/>
                </a:lnTo>
                <a:lnTo>
                  <a:pt x="24724" y="266376"/>
                </a:lnTo>
                <a:lnTo>
                  <a:pt x="32272" y="278193"/>
                </a:lnTo>
                <a:lnTo>
                  <a:pt x="40673" y="289273"/>
                </a:lnTo>
                <a:lnTo>
                  <a:pt x="49876" y="299562"/>
                </a:lnTo>
                <a:lnTo>
                  <a:pt x="59830" y="309003"/>
                </a:lnTo>
                <a:lnTo>
                  <a:pt x="70485" y="317540"/>
                </a:lnTo>
                <a:lnTo>
                  <a:pt x="81788" y="325120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1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3" y="293345"/>
                </a:lnTo>
                <a:lnTo>
                  <a:pt x="285310" y="282564"/>
                </a:lnTo>
                <a:lnTo>
                  <a:pt x="293193" y="271025"/>
                </a:lnTo>
                <a:lnTo>
                  <a:pt x="300192" y="258783"/>
                </a:lnTo>
                <a:lnTo>
                  <a:pt x="306254" y="245894"/>
                </a:lnTo>
                <a:lnTo>
                  <a:pt x="311328" y="232413"/>
                </a:lnTo>
                <a:lnTo>
                  <a:pt x="315364" y="218396"/>
                </a:lnTo>
                <a:lnTo>
                  <a:pt x="318311" y="203898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3" y="120304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9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201572" y="31699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128134" y="3392091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cs typeface="Calibri"/>
              </a:rPr>
              <a:t>K‐Means </a:t>
            </a:r>
            <a:r>
              <a:rPr sz="4800" spc="0" baseline="1706" dirty="0" smtClean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mean</a:t>
            </a:r>
            <a:endParaRPr sz="3200" dirty="0"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475579" y="3463384"/>
            <a:ext cx="394167" cy="381727"/>
          </a:xfrm>
          <a:prstGeom prst="rect">
            <a:avLst/>
          </a:pr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128134" y="3392091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5207227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0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0520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7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50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51" name="Group 150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84104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2675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26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27218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1943323" y="4876800"/>
            <a:ext cx="6733304" cy="0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4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33229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0524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2025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6820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29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Freeform 32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 62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24"/>
          <p:cNvSpPr/>
          <p:nvPr/>
        </p:nvSpPr>
        <p:spPr>
          <a:xfrm>
            <a:off x="8001000" y="3695501"/>
            <a:ext cx="675626" cy="45719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52987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95993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101915" y="369650"/>
            <a:ext cx="67372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01916" y="852250"/>
            <a:ext cx="67372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the closest center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64" name="object 64"/>
          <p:cNvSpPr/>
          <p:nvPr/>
        </p:nvSpPr>
        <p:spPr>
          <a:xfrm>
            <a:off x="4475579" y="3463384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128134" y="3392091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177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539859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39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bject 68"/>
          <p:cNvSpPr/>
          <p:nvPr/>
        </p:nvSpPr>
        <p:spPr>
          <a:xfrm>
            <a:off x="6605774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Freeform 40"/>
          <p:cNvSpPr/>
          <p:nvPr/>
        </p:nvSpPr>
        <p:spPr>
          <a:xfrm flipH="1">
            <a:off x="1175489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bject 28"/>
          <p:cNvSpPr/>
          <p:nvPr/>
        </p:nvSpPr>
        <p:spPr>
          <a:xfrm>
            <a:off x="2346246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Freeform 41"/>
          <p:cNvSpPr/>
          <p:nvPr/>
        </p:nvSpPr>
        <p:spPr>
          <a:xfrm>
            <a:off x="2662411" y="2680521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037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 40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 42"/>
          <p:cNvSpPr/>
          <p:nvPr/>
        </p:nvSpPr>
        <p:spPr>
          <a:xfrm flipH="1">
            <a:off x="1175489" y="2680522"/>
            <a:ext cx="1186709" cy="2052544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eform 76"/>
          <p:cNvSpPr/>
          <p:nvPr/>
        </p:nvSpPr>
        <p:spPr>
          <a:xfrm>
            <a:off x="2662411" y="2680521"/>
            <a:ext cx="995190" cy="2573713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68"/>
          <p:cNvSpPr/>
          <p:nvPr/>
        </p:nvSpPr>
        <p:spPr>
          <a:xfrm>
            <a:off x="6466819" y="352186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4"/>
          <p:cNvSpPr/>
          <p:nvPr/>
        </p:nvSpPr>
        <p:spPr>
          <a:xfrm>
            <a:off x="3648943" y="2712267"/>
            <a:ext cx="5027683" cy="335733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28"/>
          <p:cNvSpPr/>
          <p:nvPr/>
        </p:nvSpPr>
        <p:spPr>
          <a:xfrm>
            <a:off x="2346246" y="2489820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234531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52355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1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1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16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2719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reeform 83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Freeform 8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88" name="Freeform 87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reeform 88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Freeform 89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Freeform 90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92" name="Freeform 91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90528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latin typeface="+mj-lt"/>
                <a:cs typeface="Calibri"/>
              </a:rPr>
              <a:t>Agglomerative </a:t>
            </a:r>
            <a:r>
              <a:rPr sz="4800" baseline="1706" dirty="0">
                <a:solidFill>
                  <a:srgbClr val="F69545"/>
                </a:solidFill>
                <a:latin typeface="+mj-lt"/>
                <a:cs typeface="Calibri"/>
              </a:rPr>
              <a:t>Hierarchical</a:t>
            </a: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 Clustering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eform 48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Freeform 103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reeform 104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24"/>
          <p:cNvSpPr/>
          <p:nvPr/>
        </p:nvSpPr>
        <p:spPr>
          <a:xfrm>
            <a:off x="6670396" y="1326011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8256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object 50"/>
          <p:cNvSpPr/>
          <p:nvPr/>
        </p:nvSpPr>
        <p:spPr>
          <a:xfrm>
            <a:off x="0" y="3683129"/>
            <a:ext cx="8857851" cy="12469"/>
          </a:xfrm>
          <a:custGeom>
            <a:avLst/>
            <a:gdLst/>
            <a:ahLst/>
            <a:cxnLst/>
            <a:rect l="l" t="t" r="r" b="b"/>
            <a:pathLst>
              <a:path w="8857851" h="12469">
                <a:moveTo>
                  <a:pt x="0" y="12469"/>
                </a:moveTo>
                <a:lnTo>
                  <a:pt x="8857851" y="0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>
                <a:solidFill>
                  <a:srgbClr val="F69545"/>
                </a:solidFill>
                <a:cs typeface="Calibri"/>
              </a:rPr>
              <a:t>k=3 clusters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0" y="3624349"/>
            <a:ext cx="9075897" cy="231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1390"/>
              </a:lnSpc>
              <a:spcBef>
                <a:spcPts val="69"/>
              </a:spcBef>
            </a:pPr>
            <a:endParaRPr sz="2800" dirty="0">
              <a:latin typeface="Calibri"/>
              <a:cs typeface="Calibri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3" name="Freeform 52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Freeform 66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 67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2324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bject 50"/>
          <p:cNvSpPr/>
          <p:nvPr/>
        </p:nvSpPr>
        <p:spPr>
          <a:xfrm>
            <a:off x="0" y="3009901"/>
            <a:ext cx="8629251" cy="231"/>
          </a:xfrm>
          <a:custGeom>
            <a:avLst/>
            <a:gdLst>
              <a:gd name="connsiteX0" fmla="*/ 0 w 8629251"/>
              <a:gd name="connsiteY0" fmla="*/ 0 h 231"/>
              <a:gd name="connsiteX1" fmla="*/ 8629251 w 8629251"/>
              <a:gd name="connsiteY1" fmla="*/ 231 h 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29251" h="231">
                <a:moveTo>
                  <a:pt x="0" y="0"/>
                </a:moveTo>
                <a:lnTo>
                  <a:pt x="8629251" y="231"/>
                </a:lnTo>
              </a:path>
            </a:pathLst>
          </a:custGeom>
          <a:ln w="38100">
            <a:solidFill>
              <a:srgbClr val="F69545"/>
            </a:solidFill>
            <a:prstDash val="lgDash"/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10"/>
          <p:cNvSpPr txBox="1"/>
          <p:nvPr/>
        </p:nvSpPr>
        <p:spPr>
          <a:xfrm>
            <a:off x="2101916" y="369650"/>
            <a:ext cx="6296519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800" baseline="1706" dirty="0">
                <a:solidFill>
                  <a:srgbClr val="4E81BC"/>
                </a:solidFill>
                <a:cs typeface="Calibri"/>
              </a:rPr>
              <a:t>Criterion: </a:t>
            </a:r>
            <a:r>
              <a:rPr lang="en-US" sz="4800" baseline="1706" dirty="0">
                <a:solidFill>
                  <a:srgbClr val="7F7E7E"/>
                </a:solidFill>
                <a:cs typeface="Calibri"/>
              </a:rPr>
              <a:t>Stop at </a:t>
            </a:r>
            <a:r>
              <a:rPr lang="en-US" sz="4800" baseline="1706" dirty="0" err="1" smtClean="0">
                <a:solidFill>
                  <a:srgbClr val="F69545"/>
                </a:solidFill>
                <a:cs typeface="Calibri"/>
              </a:rPr>
              <a:t>dist</a:t>
            </a:r>
            <a:r>
              <a:rPr lang="en-US" sz="4800" baseline="1706" dirty="0" smtClean="0">
                <a:solidFill>
                  <a:srgbClr val="F69545"/>
                </a:solidFill>
                <a:cs typeface="Calibri"/>
              </a:rPr>
              <a:t>=3……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!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1371599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 flipH="1">
            <a:off x="451015" y="4876800"/>
            <a:ext cx="596901" cy="381000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bject 5"/>
          <p:cNvSpPr/>
          <p:nvPr/>
        </p:nvSpPr>
        <p:spPr>
          <a:xfrm>
            <a:off x="8676629" y="1036574"/>
            <a:ext cx="0" cy="4598485"/>
          </a:xfrm>
          <a:custGeom>
            <a:avLst/>
            <a:gdLst/>
            <a:ahLst/>
            <a:cxnLst/>
            <a:rect l="l" t="t" r="r" b="b"/>
            <a:pathLst>
              <a:path h="4598485">
                <a:moveTo>
                  <a:pt x="0" y="4598485"/>
                </a:moveTo>
                <a:lnTo>
                  <a:pt x="0" y="0"/>
                </a:lnTo>
              </a:path>
            </a:pathLst>
          </a:custGeom>
          <a:ln w="38099">
            <a:solidFill>
              <a:srgbClr val="937AB1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2"/>
          <p:cNvSpPr txBox="1"/>
          <p:nvPr/>
        </p:nvSpPr>
        <p:spPr>
          <a:xfrm rot="5400000">
            <a:off x="8269473" y="3145316"/>
            <a:ext cx="1310588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8063A1"/>
                </a:solidFill>
                <a:cs typeface="Calibri"/>
              </a:rPr>
              <a:t>distance</a:t>
            </a:r>
            <a:endParaRPr sz="2800" dirty="0">
              <a:cs typeface="Calibri"/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6814291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H="1">
            <a:off x="5486826" y="3678833"/>
            <a:ext cx="1186709" cy="160886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eform 95"/>
          <p:cNvSpPr/>
          <p:nvPr/>
        </p:nvSpPr>
        <p:spPr>
          <a:xfrm flipH="1">
            <a:off x="1175488" y="2680521"/>
            <a:ext cx="1186709" cy="2052545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2662410" y="2680521"/>
            <a:ext cx="995425" cy="2607177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  <a:gd name="connsiteX0" fmla="*/ 0 w 574187"/>
              <a:gd name="connsiteY0" fmla="*/ 0 h 409575"/>
              <a:gd name="connsiteX1" fmla="*/ 0 w 574187"/>
              <a:gd name="connsiteY1" fmla="*/ 0 h 409575"/>
              <a:gd name="connsiteX2" fmla="*/ 574187 w 574187"/>
              <a:gd name="connsiteY2" fmla="*/ 1180 h 409575"/>
              <a:gd name="connsiteX3" fmla="*/ 571500 w 574187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187" h="409575">
                <a:moveTo>
                  <a:pt x="0" y="0"/>
                </a:moveTo>
                <a:lnTo>
                  <a:pt x="0" y="0"/>
                </a:lnTo>
                <a:lnTo>
                  <a:pt x="574187" y="1180"/>
                </a:lnTo>
                <a:cubicBezTo>
                  <a:pt x="573291" y="137312"/>
                  <a:pt x="572396" y="273443"/>
                  <a:pt x="571500" y="409575"/>
                </a:cubicBez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bject 23"/>
          <p:cNvSpPr/>
          <p:nvPr/>
        </p:nvSpPr>
        <p:spPr>
          <a:xfrm>
            <a:off x="4487329" y="1162574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24"/>
          <p:cNvSpPr/>
          <p:nvPr/>
        </p:nvSpPr>
        <p:spPr>
          <a:xfrm>
            <a:off x="4487328" y="1162574"/>
            <a:ext cx="320730" cy="34736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27"/>
          <p:cNvSpPr/>
          <p:nvPr/>
        </p:nvSpPr>
        <p:spPr>
          <a:xfrm>
            <a:off x="2346246" y="2489821"/>
            <a:ext cx="320729" cy="347361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232" y="183105"/>
                </a:lnTo>
                <a:lnTo>
                  <a:pt x="1582" y="198178"/>
                </a:lnTo>
                <a:lnTo>
                  <a:pt x="4094" y="212847"/>
                </a:lnTo>
                <a:lnTo>
                  <a:pt x="7715" y="227057"/>
                </a:lnTo>
                <a:lnTo>
                  <a:pt x="12394" y="240751"/>
                </a:lnTo>
                <a:lnTo>
                  <a:pt x="18081" y="253876"/>
                </a:lnTo>
                <a:lnTo>
                  <a:pt x="24724" y="266374"/>
                </a:lnTo>
                <a:lnTo>
                  <a:pt x="32271" y="278191"/>
                </a:lnTo>
                <a:lnTo>
                  <a:pt x="40672" y="289272"/>
                </a:lnTo>
                <a:lnTo>
                  <a:pt x="49875" y="299560"/>
                </a:lnTo>
                <a:lnTo>
                  <a:pt x="59829" y="309001"/>
                </a:lnTo>
                <a:lnTo>
                  <a:pt x="70484" y="317539"/>
                </a:lnTo>
                <a:lnTo>
                  <a:pt x="81787" y="325118"/>
                </a:lnTo>
                <a:lnTo>
                  <a:pt x="93688" y="331684"/>
                </a:lnTo>
                <a:lnTo>
                  <a:pt x="106135" y="337180"/>
                </a:lnTo>
                <a:lnTo>
                  <a:pt x="119077" y="341551"/>
                </a:lnTo>
                <a:lnTo>
                  <a:pt x="132464" y="344742"/>
                </a:lnTo>
                <a:lnTo>
                  <a:pt x="146243" y="346697"/>
                </a:lnTo>
                <a:lnTo>
                  <a:pt x="160364" y="347361"/>
                </a:lnTo>
                <a:lnTo>
                  <a:pt x="169068" y="347110"/>
                </a:lnTo>
                <a:lnTo>
                  <a:pt x="182985" y="345646"/>
                </a:lnTo>
                <a:lnTo>
                  <a:pt x="196529" y="342926"/>
                </a:lnTo>
                <a:lnTo>
                  <a:pt x="209649" y="339004"/>
                </a:lnTo>
                <a:lnTo>
                  <a:pt x="222294" y="333936"/>
                </a:lnTo>
                <a:lnTo>
                  <a:pt x="234412" y="327778"/>
                </a:lnTo>
                <a:lnTo>
                  <a:pt x="245952" y="320583"/>
                </a:lnTo>
                <a:lnTo>
                  <a:pt x="256863" y="312409"/>
                </a:lnTo>
                <a:lnTo>
                  <a:pt x="267094" y="303311"/>
                </a:lnTo>
                <a:lnTo>
                  <a:pt x="276593" y="293343"/>
                </a:lnTo>
                <a:lnTo>
                  <a:pt x="285310" y="282562"/>
                </a:lnTo>
                <a:lnTo>
                  <a:pt x="293193" y="271023"/>
                </a:lnTo>
                <a:lnTo>
                  <a:pt x="300192" y="258781"/>
                </a:lnTo>
                <a:lnTo>
                  <a:pt x="306254" y="245892"/>
                </a:lnTo>
                <a:lnTo>
                  <a:pt x="311328" y="232411"/>
                </a:lnTo>
                <a:lnTo>
                  <a:pt x="315364" y="218394"/>
                </a:lnTo>
                <a:lnTo>
                  <a:pt x="318311" y="203896"/>
                </a:lnTo>
                <a:lnTo>
                  <a:pt x="320116" y="188973"/>
                </a:lnTo>
                <a:lnTo>
                  <a:pt x="320729" y="173680"/>
                </a:lnTo>
                <a:lnTo>
                  <a:pt x="320497" y="164254"/>
                </a:lnTo>
                <a:lnTo>
                  <a:pt x="319146" y="149181"/>
                </a:lnTo>
                <a:lnTo>
                  <a:pt x="316635" y="134512"/>
                </a:lnTo>
                <a:lnTo>
                  <a:pt x="313013" y="120303"/>
                </a:lnTo>
                <a:lnTo>
                  <a:pt x="308334" y="106609"/>
                </a:lnTo>
                <a:lnTo>
                  <a:pt x="302647" y="93485"/>
                </a:lnTo>
                <a:lnTo>
                  <a:pt x="296005" y="80986"/>
                </a:lnTo>
                <a:lnTo>
                  <a:pt x="288457" y="69169"/>
                </a:lnTo>
                <a:lnTo>
                  <a:pt x="280056" y="58089"/>
                </a:lnTo>
                <a:lnTo>
                  <a:pt x="270853" y="47800"/>
                </a:lnTo>
                <a:lnTo>
                  <a:pt x="260898" y="38359"/>
                </a:lnTo>
                <a:lnTo>
                  <a:pt x="250244" y="29822"/>
                </a:lnTo>
                <a:lnTo>
                  <a:pt x="238941" y="22242"/>
                </a:lnTo>
                <a:lnTo>
                  <a:pt x="227040" y="15677"/>
                </a:lnTo>
                <a:lnTo>
                  <a:pt x="214593" y="10181"/>
                </a:lnTo>
                <a:lnTo>
                  <a:pt x="201650" y="5810"/>
                </a:lnTo>
                <a:lnTo>
                  <a:pt x="188264" y="2619"/>
                </a:lnTo>
                <a:lnTo>
                  <a:pt x="174484" y="664"/>
                </a:lnTo>
                <a:lnTo>
                  <a:pt x="160364" y="0"/>
                </a:lnTo>
                <a:lnTo>
                  <a:pt x="151662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3"/>
                </a:lnTo>
                <a:lnTo>
                  <a:pt x="86317" y="19582"/>
                </a:lnTo>
                <a:lnTo>
                  <a:pt x="74777" y="26776"/>
                </a:lnTo>
                <a:lnTo>
                  <a:pt x="63866" y="34950"/>
                </a:lnTo>
                <a:lnTo>
                  <a:pt x="53635" y="44049"/>
                </a:lnTo>
                <a:lnTo>
                  <a:pt x="44135" y="54016"/>
                </a:lnTo>
                <a:lnTo>
                  <a:pt x="35418" y="64797"/>
                </a:lnTo>
                <a:lnTo>
                  <a:pt x="27535" y="76337"/>
                </a:lnTo>
                <a:lnTo>
                  <a:pt x="20537" y="88578"/>
                </a:lnTo>
                <a:lnTo>
                  <a:pt x="14475" y="101467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"/>
          <p:cNvSpPr/>
          <p:nvPr/>
        </p:nvSpPr>
        <p:spPr>
          <a:xfrm>
            <a:off x="1786879" y="5254236"/>
            <a:ext cx="320730" cy="347361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286325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7F1676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1773507" y="52542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6"/>
          <p:cNvSpPr/>
          <p:nvPr/>
        </p:nvSpPr>
        <p:spPr>
          <a:xfrm>
            <a:off x="3485667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5376346" y="528782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32"/>
          <p:cNvSpPr/>
          <p:nvPr/>
        </p:nvSpPr>
        <p:spPr>
          <a:xfrm>
            <a:off x="7835202" y="528769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1028194" y="471414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Freeform 107"/>
          <p:cNvSpPr/>
          <p:nvPr/>
        </p:nvSpPr>
        <p:spPr>
          <a:xfrm flipH="1">
            <a:off x="2514599" y="1304660"/>
            <a:ext cx="1972727" cy="1185159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reeform 108"/>
          <p:cNvSpPr/>
          <p:nvPr/>
        </p:nvSpPr>
        <p:spPr>
          <a:xfrm>
            <a:off x="4808059" y="1304660"/>
            <a:ext cx="1862338" cy="2217076"/>
          </a:xfrm>
          <a:custGeom>
            <a:avLst/>
            <a:gdLst>
              <a:gd name="connsiteX0" fmla="*/ 0 w 571617"/>
              <a:gd name="connsiteY0" fmla="*/ 3770 h 413345"/>
              <a:gd name="connsiteX1" fmla="*/ 0 w 571617"/>
              <a:gd name="connsiteY1" fmla="*/ 3770 h 413345"/>
              <a:gd name="connsiteX2" fmla="*/ 476250 w 571617"/>
              <a:gd name="connsiteY2" fmla="*/ 6945 h 413345"/>
              <a:gd name="connsiteX3" fmla="*/ 571500 w 571617"/>
              <a:gd name="connsiteY3" fmla="*/ 32345 h 413345"/>
              <a:gd name="connsiteX4" fmla="*/ 571500 w 571617"/>
              <a:gd name="connsiteY4" fmla="*/ 413345 h 413345"/>
              <a:gd name="connsiteX0" fmla="*/ 0 w 571500"/>
              <a:gd name="connsiteY0" fmla="*/ 8358 h 417933"/>
              <a:gd name="connsiteX1" fmla="*/ 0 w 571500"/>
              <a:gd name="connsiteY1" fmla="*/ 8358 h 417933"/>
              <a:gd name="connsiteX2" fmla="*/ 476250 w 571500"/>
              <a:gd name="connsiteY2" fmla="*/ 11533 h 417933"/>
              <a:gd name="connsiteX3" fmla="*/ 571500 w 571500"/>
              <a:gd name="connsiteY3" fmla="*/ 36933 h 417933"/>
              <a:gd name="connsiteX4" fmla="*/ 571500 w 571500"/>
              <a:gd name="connsiteY4" fmla="*/ 417933 h 417933"/>
              <a:gd name="connsiteX0" fmla="*/ 0 w 571500"/>
              <a:gd name="connsiteY0" fmla="*/ 0 h 409575"/>
              <a:gd name="connsiteX1" fmla="*/ 0 w 571500"/>
              <a:gd name="connsiteY1" fmla="*/ 0 h 409575"/>
              <a:gd name="connsiteX2" fmla="*/ 571500 w 571500"/>
              <a:gd name="connsiteY2" fmla="*/ 28575 h 409575"/>
              <a:gd name="connsiteX3" fmla="*/ 571500 w 571500"/>
              <a:gd name="connsiteY3" fmla="*/ 409575 h 409575"/>
              <a:gd name="connsiteX0" fmla="*/ 0 w 577850"/>
              <a:gd name="connsiteY0" fmla="*/ 0 h 409575"/>
              <a:gd name="connsiteX1" fmla="*/ 0 w 577850"/>
              <a:gd name="connsiteY1" fmla="*/ 0 h 409575"/>
              <a:gd name="connsiteX2" fmla="*/ 577850 w 577850"/>
              <a:gd name="connsiteY2" fmla="*/ 3175 h 409575"/>
              <a:gd name="connsiteX3" fmla="*/ 571500 w 577850"/>
              <a:gd name="connsiteY3" fmla="*/ 4095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850" h="409575">
                <a:moveTo>
                  <a:pt x="0" y="0"/>
                </a:moveTo>
                <a:lnTo>
                  <a:pt x="0" y="0"/>
                </a:lnTo>
                <a:lnTo>
                  <a:pt x="577850" y="3175"/>
                </a:lnTo>
                <a:lnTo>
                  <a:pt x="571500" y="409575"/>
                </a:lnTo>
              </a:path>
            </a:pathLst>
          </a:custGeom>
          <a:noFill/>
          <a:ln>
            <a:solidFill>
              <a:srgbClr val="6094C9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bject 28"/>
          <p:cNvSpPr/>
          <p:nvPr/>
        </p:nvSpPr>
        <p:spPr>
          <a:xfrm>
            <a:off x="2346246" y="2489695"/>
            <a:ext cx="320729" cy="34736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ln w="25399">
            <a:solidFill>
              <a:srgbClr val="9E4B4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6466819" y="352173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4"/>
          <p:cNvSpPr/>
          <p:nvPr/>
        </p:nvSpPr>
        <p:spPr>
          <a:xfrm>
            <a:off x="6670396" y="1326011"/>
            <a:ext cx="2006230" cy="174107"/>
          </a:xfrm>
          <a:custGeom>
            <a:avLst/>
            <a:gdLst/>
            <a:ahLst/>
            <a:cxnLst/>
            <a:rect l="l" t="t" r="r" b="b"/>
            <a:pathLst>
              <a:path w="6733304">
                <a:moveTo>
                  <a:pt x="0" y="0"/>
                </a:moveTo>
                <a:lnTo>
                  <a:pt x="6733304" y="0"/>
                </a:lnTo>
              </a:path>
            </a:pathLst>
          </a:custGeom>
          <a:ln w="25399">
            <a:solidFill>
              <a:srgbClr val="937AB1"/>
            </a:solidFill>
            <a:prstDash val="lg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3953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ve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973047" y="442149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3973047" y="442149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375198" y="2581199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6375198" y="2581199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cs typeface="Calibri"/>
              </a:rPr>
              <a:t>K=2</a:t>
            </a:r>
            <a:endParaRPr sz="3200" dirty="0"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cs typeface="Calibri"/>
              </a:rPr>
              <a:t>mean</a:t>
            </a:r>
            <a:endParaRPr sz="32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1142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latin typeface="+mj-lt"/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latin typeface="+mj-lt"/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latin typeface="+mj-lt"/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latin typeface="+mj-lt"/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ve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7" y="2235691"/>
            <a:ext cx="7853313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38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38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38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3800" spc="0" baseline="1950" dirty="0" smtClean="0">
                <a:solidFill>
                  <a:srgbClr val="F69545"/>
                </a:solidFill>
                <a:cs typeface="Calibri"/>
              </a:rPr>
              <a:t>linkage = “ward”</a:t>
            </a: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,</a:t>
            </a:r>
            <a:endParaRPr sz="3800" dirty="0"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3800" dirty="0"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38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3800" dirty="0"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3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3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04886" y="533891"/>
            <a:ext cx="7853314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ve</a:t>
            </a:r>
            <a:r>
              <a:rPr sz="4200" spc="-217" baseline="1950" dirty="0" smtClean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Clustering</a:t>
            </a:r>
            <a:r>
              <a:rPr lang="en-US" sz="4200" spc="0" baseline="1950" dirty="0" smtClean="0">
                <a:solidFill>
                  <a:srgbClr val="9BBA58"/>
                </a:solidFill>
                <a:latin typeface="+mj-lt"/>
                <a:cs typeface="Calibri"/>
              </a:rPr>
              <a:t> </a:t>
            </a:r>
            <a:r>
              <a:rPr lang="en-US" sz="4200" baseline="2925" dirty="0">
                <a:solidFill>
                  <a:srgbClr val="F69545"/>
                </a:solidFill>
                <a:latin typeface="+mj-lt"/>
                <a:cs typeface="Calibri"/>
              </a:rPr>
              <a:t>linkage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4191000" y="914891"/>
            <a:ext cx="4177790" cy="768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66662">
              <a:lnSpc>
                <a:spcPct val="104166"/>
              </a:lnSpc>
              <a:spcBef>
                <a:spcPts val="108"/>
              </a:spcBef>
            </a:pP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Which clusters to merge next. Deﬁni</a:t>
            </a:r>
            <a:r>
              <a:rPr lang="en-US" sz="2400" spc="0" dirty="0" smtClean="0">
                <a:solidFill>
                  <a:srgbClr val="7F7E7E"/>
                </a:solidFill>
                <a:latin typeface="Calibri"/>
                <a:cs typeface="Calibri"/>
              </a:rPr>
              <a:t>ti</a:t>
            </a: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on</a:t>
            </a:r>
            <a:r>
              <a:rPr sz="2400" spc="-181" dirty="0" smtClean="0">
                <a:solidFill>
                  <a:srgbClr val="7F7E7E"/>
                </a:solidFill>
                <a:latin typeface="Calibri"/>
                <a:cs typeface="Calibri"/>
              </a:rPr>
              <a:t> </a:t>
            </a:r>
            <a:r>
              <a:rPr sz="2400" spc="0" dirty="0" smtClean="0">
                <a:solidFill>
                  <a:srgbClr val="7F7E7E"/>
                </a:solidFill>
                <a:latin typeface="Calibri"/>
                <a:cs typeface="Calibri"/>
              </a:rPr>
              <a:t>of “shortest distance”</a:t>
            </a:r>
            <a:endParaRPr lang="en-US" sz="2400" spc="0" dirty="0" smtClean="0">
              <a:solidFill>
                <a:srgbClr val="7F7E7E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latin typeface="+mj-lt"/>
              <a:cs typeface="Calibri"/>
            </a:endParaRPr>
          </a:p>
        </p:txBody>
      </p:sp>
      <p:sp>
        <p:nvSpPr>
          <p:cNvPr id="16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94" name="Group 19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9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9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3"/>
          <p:cNvSpPr txBox="1"/>
          <p:nvPr/>
        </p:nvSpPr>
        <p:spPr>
          <a:xfrm>
            <a:off x="604887" y="533891"/>
            <a:ext cx="7709221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5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the min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0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8" name="object 82"/>
          <p:cNvSpPr/>
          <p:nvPr/>
        </p:nvSpPr>
        <p:spPr>
          <a:xfrm>
            <a:off x="5024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“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singl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9" name="object 13"/>
          <p:cNvSpPr txBox="1"/>
          <p:nvPr/>
        </p:nvSpPr>
        <p:spPr>
          <a:xfrm>
            <a:off x="604886" y="999752"/>
            <a:ext cx="8234313" cy="8322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Fast</a:t>
            </a:r>
            <a:r>
              <a:rPr lang="en-US" sz="4200" baseline="1950" dirty="0" smtClean="0">
                <a:solidFill>
                  <a:srgbClr val="F69545"/>
                </a:solidFill>
                <a:cs typeface="Calibri"/>
              </a:rPr>
              <a:t>. Can from long chains instead of </a:t>
            </a:r>
          </a:p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dirty="0" smtClean="0">
                <a:solidFill>
                  <a:srgbClr val="F69545"/>
                </a:solidFill>
                <a:cs typeface="Calibri"/>
              </a:rPr>
              <a:t> </a:t>
            </a:r>
            <a:r>
              <a:rPr lang="en-US" sz="4200" baseline="1950" dirty="0">
                <a:solidFill>
                  <a:srgbClr val="F69545"/>
                </a:solidFill>
                <a:cs typeface="Calibri"/>
              </a:rPr>
              <a:t>clusters</a:t>
            </a:r>
            <a:r>
              <a:rPr lang="en-US" sz="4200" baseline="1950" dirty="0" smtClean="0">
                <a:solidFill>
                  <a:srgbClr val="F69545"/>
                </a:solidFill>
                <a:cs typeface="Calibri"/>
              </a:rPr>
              <a:t>.</a:t>
            </a:r>
            <a:endParaRPr lang="en-US" sz="2800" dirty="0">
              <a:cs typeface="Calibri"/>
            </a:endParaRPr>
          </a:p>
        </p:txBody>
      </p:sp>
      <p:sp>
        <p:nvSpPr>
          <p:cNvPr id="110" name="object 82"/>
          <p:cNvSpPr/>
          <p:nvPr/>
        </p:nvSpPr>
        <p:spPr>
          <a:xfrm>
            <a:off x="5183063" y="4109350"/>
            <a:ext cx="995205" cy="85877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4066245" y="5257009"/>
            <a:ext cx="429556" cy="153629"/>
          </a:xfrm>
          <a:custGeom>
            <a:avLst/>
            <a:gdLst/>
            <a:ahLst/>
            <a:cxnLst/>
            <a:rect l="l" t="t" r="r" b="b"/>
            <a:pathLst>
              <a:path w="406727" h="147848">
                <a:moveTo>
                  <a:pt x="406727" y="147848"/>
                </a:moveTo>
                <a:lnTo>
                  <a:pt x="0" y="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3" name="object 56"/>
          <p:cNvSpPr/>
          <p:nvPr/>
        </p:nvSpPr>
        <p:spPr>
          <a:xfrm>
            <a:off x="3927243" y="3641273"/>
            <a:ext cx="804730" cy="297678"/>
          </a:xfrm>
          <a:custGeom>
            <a:avLst/>
            <a:gdLst/>
            <a:ahLst/>
            <a:cxnLst/>
            <a:rect l="l" t="t" r="r" b="b"/>
            <a:pathLst>
              <a:path w="804730" h="297678">
                <a:moveTo>
                  <a:pt x="804730" y="0"/>
                </a:moveTo>
                <a:lnTo>
                  <a:pt x="0" y="297678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5" name="object 70"/>
          <p:cNvSpPr/>
          <p:nvPr/>
        </p:nvSpPr>
        <p:spPr>
          <a:xfrm>
            <a:off x="5826519" y="3380260"/>
            <a:ext cx="193281" cy="30087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50" name="Group 14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5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3" name="object 82"/>
          <p:cNvSpPr/>
          <p:nvPr/>
        </p:nvSpPr>
        <p:spPr>
          <a:xfrm>
            <a:off x="5024693" y="4047240"/>
            <a:ext cx="145336" cy="862298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82"/>
          <p:cNvSpPr/>
          <p:nvPr/>
        </p:nvSpPr>
        <p:spPr>
          <a:xfrm>
            <a:off x="4310468" y="4005004"/>
            <a:ext cx="1839009" cy="597017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maximum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6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7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973047" y="4421492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75198" y="2581199"/>
            <a:ext cx="394168" cy="381727"/>
          </a:xfrm>
          <a:custGeom>
            <a:avLst/>
            <a:gdLst/>
            <a:ahLst/>
            <a:cxnLst/>
            <a:rect l="l" t="t" r="r" b="b"/>
            <a:pathLst>
              <a:path w="394168" h="381727">
                <a:moveTo>
                  <a:pt x="0" y="0"/>
                </a:moveTo>
                <a:lnTo>
                  <a:pt x="394168" y="0"/>
                </a:lnTo>
                <a:lnTo>
                  <a:pt x="394168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73047" y="4421492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375198" y="2581199"/>
            <a:ext cx="394168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59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13"/>
          <p:cNvSpPr txBox="1"/>
          <p:nvPr/>
        </p:nvSpPr>
        <p:spPr>
          <a:xfrm>
            <a:off x="2101915" y="369650"/>
            <a:ext cx="6280085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-­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2" name="object 12"/>
          <p:cNvSpPr txBox="1"/>
          <p:nvPr/>
        </p:nvSpPr>
        <p:spPr>
          <a:xfrm>
            <a:off x="2101915" y="852250"/>
            <a:ext cx="6280085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Each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point belongs to closest center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71164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1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3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3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4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1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5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1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2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3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9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5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0" name="Group 13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3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6200000">
            <a:off x="2992116" y="4068267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13"/>
          <p:cNvSpPr txBox="1"/>
          <p:nvPr/>
        </p:nvSpPr>
        <p:spPr>
          <a:xfrm>
            <a:off x="604886" y="999752"/>
            <a:ext cx="8234313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s is the </a:t>
            </a:r>
            <a:r>
              <a:rPr lang="en-US" sz="4200" baseline="1706" dirty="0">
                <a:solidFill>
                  <a:srgbClr val="7F7E7E"/>
                </a:solidFill>
                <a:cs typeface="Calibri"/>
              </a:rPr>
              <a:t>maximum </a:t>
            </a: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complet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6" name="object 13"/>
          <p:cNvSpPr txBox="1"/>
          <p:nvPr/>
        </p:nvSpPr>
        <p:spPr>
          <a:xfrm>
            <a:off x="604886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Fast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. No chains. Sensitive</a:t>
            </a:r>
            <a:r>
              <a:rPr lang="en-US" sz="4200" dirty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to outliers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5" name="object 82"/>
          <p:cNvSpPr/>
          <p:nvPr/>
        </p:nvSpPr>
        <p:spPr>
          <a:xfrm flipV="1">
            <a:off x="4772975" y="2349886"/>
            <a:ext cx="1932625" cy="1450220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82"/>
          <p:cNvSpPr/>
          <p:nvPr/>
        </p:nvSpPr>
        <p:spPr>
          <a:xfrm rot="16200000" flipV="1">
            <a:off x="1732271" y="2853295"/>
            <a:ext cx="3225812" cy="223386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82"/>
          <p:cNvSpPr/>
          <p:nvPr/>
        </p:nvSpPr>
        <p:spPr>
          <a:xfrm rot="10800000" flipV="1">
            <a:off x="3075728" y="4274476"/>
            <a:ext cx="2430059" cy="1755656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82"/>
          <p:cNvSpPr/>
          <p:nvPr/>
        </p:nvSpPr>
        <p:spPr>
          <a:xfrm rot="16200000" flipV="1">
            <a:off x="3434104" y="2783237"/>
            <a:ext cx="3573857" cy="2572351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82"/>
          <p:cNvSpPr/>
          <p:nvPr/>
        </p:nvSpPr>
        <p:spPr>
          <a:xfrm rot="16200000">
            <a:off x="2992116" y="4068267"/>
            <a:ext cx="3429617" cy="16988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82"/>
          <p:cNvSpPr/>
          <p:nvPr/>
        </p:nvSpPr>
        <p:spPr>
          <a:xfrm rot="16200000" flipV="1">
            <a:off x="2745622" y="1821168"/>
            <a:ext cx="3244205" cy="4278965"/>
          </a:xfrm>
          <a:custGeom>
            <a:avLst/>
            <a:gdLst/>
            <a:ahLst/>
            <a:cxnLst/>
            <a:rect l="l" t="t" r="r" b="b"/>
            <a:pathLst>
              <a:path w="979964" h="814040">
                <a:moveTo>
                  <a:pt x="979964" y="0"/>
                </a:moveTo>
                <a:lnTo>
                  <a:pt x="0" y="814040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5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8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0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4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5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89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3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7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8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9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9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1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2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3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object 84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86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88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76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73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1"/>
                </a:moveTo>
                <a:lnTo>
                  <a:pt x="232" y="183108"/>
                </a:lnTo>
                <a:lnTo>
                  <a:pt x="1583" y="198180"/>
                </a:lnTo>
                <a:lnTo>
                  <a:pt x="4094" y="212849"/>
                </a:lnTo>
                <a:lnTo>
                  <a:pt x="7715" y="227058"/>
                </a:lnTo>
                <a:lnTo>
                  <a:pt x="12395" y="240753"/>
                </a:lnTo>
                <a:lnTo>
                  <a:pt x="18082" y="253877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3"/>
                </a:lnTo>
                <a:lnTo>
                  <a:pt x="49876" y="299561"/>
                </a:lnTo>
                <a:lnTo>
                  <a:pt x="59830" y="309002"/>
                </a:lnTo>
                <a:lnTo>
                  <a:pt x="70485" y="317540"/>
                </a:lnTo>
                <a:lnTo>
                  <a:pt x="81788" y="325119"/>
                </a:lnTo>
                <a:lnTo>
                  <a:pt x="93689" y="331685"/>
                </a:lnTo>
                <a:lnTo>
                  <a:pt x="106136" y="337181"/>
                </a:lnTo>
                <a:lnTo>
                  <a:pt x="119079" y="341552"/>
                </a:lnTo>
                <a:lnTo>
                  <a:pt x="132465" y="344743"/>
                </a:lnTo>
                <a:lnTo>
                  <a:pt x="146244" y="346698"/>
                </a:lnTo>
                <a:lnTo>
                  <a:pt x="160365" y="347362"/>
                </a:lnTo>
                <a:lnTo>
                  <a:pt x="169068" y="347111"/>
                </a:lnTo>
                <a:lnTo>
                  <a:pt x="182985" y="345648"/>
                </a:lnTo>
                <a:lnTo>
                  <a:pt x="196529" y="342928"/>
                </a:lnTo>
                <a:lnTo>
                  <a:pt x="209649" y="339006"/>
                </a:lnTo>
                <a:lnTo>
                  <a:pt x="222294" y="333938"/>
                </a:lnTo>
                <a:lnTo>
                  <a:pt x="234412" y="327779"/>
                </a:lnTo>
                <a:lnTo>
                  <a:pt x="245952" y="320585"/>
                </a:lnTo>
                <a:lnTo>
                  <a:pt x="256863" y="312411"/>
                </a:lnTo>
                <a:lnTo>
                  <a:pt x="267094" y="303312"/>
                </a:lnTo>
                <a:lnTo>
                  <a:pt x="276594" y="293344"/>
                </a:lnTo>
                <a:lnTo>
                  <a:pt x="285311" y="282563"/>
                </a:lnTo>
                <a:lnTo>
                  <a:pt x="293194" y="271024"/>
                </a:lnTo>
                <a:lnTo>
                  <a:pt x="300192" y="258782"/>
                </a:lnTo>
                <a:lnTo>
                  <a:pt x="306254" y="245893"/>
                </a:lnTo>
                <a:lnTo>
                  <a:pt x="311328" y="232412"/>
                </a:lnTo>
                <a:lnTo>
                  <a:pt x="315364" y="218395"/>
                </a:lnTo>
                <a:lnTo>
                  <a:pt x="318311" y="203897"/>
                </a:lnTo>
                <a:lnTo>
                  <a:pt x="320116" y="188974"/>
                </a:lnTo>
                <a:lnTo>
                  <a:pt x="320729" y="173681"/>
                </a:lnTo>
                <a:lnTo>
                  <a:pt x="320497" y="164255"/>
                </a:lnTo>
                <a:lnTo>
                  <a:pt x="319146" y="149182"/>
                </a:lnTo>
                <a:lnTo>
                  <a:pt x="316635" y="134513"/>
                </a:lnTo>
                <a:lnTo>
                  <a:pt x="313014" y="120304"/>
                </a:lnTo>
                <a:lnTo>
                  <a:pt x="308334" y="106609"/>
                </a:lnTo>
                <a:lnTo>
                  <a:pt x="302648" y="93485"/>
                </a:lnTo>
                <a:lnTo>
                  <a:pt x="296005" y="80986"/>
                </a:lnTo>
                <a:lnTo>
                  <a:pt x="288458" y="69169"/>
                </a:lnTo>
                <a:lnTo>
                  <a:pt x="280057" y="58089"/>
                </a:lnTo>
                <a:lnTo>
                  <a:pt x="270854" y="47800"/>
                </a:lnTo>
                <a:lnTo>
                  <a:pt x="260899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1" y="251"/>
                </a:lnTo>
                <a:lnTo>
                  <a:pt x="137744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5" y="13424"/>
                </a:lnTo>
                <a:lnTo>
                  <a:pt x="86317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50"/>
                </a:lnTo>
                <a:lnTo>
                  <a:pt x="44135" y="54017"/>
                </a:lnTo>
                <a:lnTo>
                  <a:pt x="35418" y="64798"/>
                </a:lnTo>
                <a:lnTo>
                  <a:pt x="27535" y="76338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9"/>
                </a:lnTo>
                <a:lnTo>
                  <a:pt x="5364" y="128966"/>
                </a:lnTo>
                <a:lnTo>
                  <a:pt x="2418" y="143464"/>
                </a:lnTo>
                <a:lnTo>
                  <a:pt x="613" y="158388"/>
                </a:lnTo>
                <a:lnTo>
                  <a:pt x="0" y="173681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72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70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8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6"/>
          <p:cNvSpPr/>
          <p:nvPr/>
        </p:nvSpPr>
        <p:spPr>
          <a:xfrm>
            <a:off x="5880841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8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6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24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22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20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8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6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59BAD1"/>
          </a:solidFill>
          <a:ln w="28575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255631" y="2582755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59BAD1"/>
          </a:solidFill>
          <a:ln w="57150">
            <a:solidFill>
              <a:srgbClr val="418FA2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367860" y="4662811"/>
            <a:ext cx="394167" cy="381727"/>
          </a:xfrm>
          <a:custGeom>
            <a:avLst/>
            <a:gdLst/>
            <a:ahLst/>
            <a:cxnLst/>
            <a:rect l="l" t="t" r="r" b="b"/>
            <a:pathLst>
              <a:path w="394167" h="381727">
                <a:moveTo>
                  <a:pt x="0" y="0"/>
                </a:moveTo>
                <a:lnTo>
                  <a:pt x="394167" y="0"/>
                </a:lnTo>
                <a:lnTo>
                  <a:pt x="394167" y="381727"/>
                </a:lnTo>
                <a:lnTo>
                  <a:pt x="0" y="381727"/>
                </a:lnTo>
                <a:lnTo>
                  <a:pt x="0" y="0"/>
                </a:lnTo>
                <a:close/>
              </a:path>
            </a:pathLst>
          </a:custGeom>
          <a:solidFill>
            <a:srgbClr val="AAC56C"/>
          </a:solidFill>
          <a:ln w="57150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43901" y="1923700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67860" y="4662811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6255631" y="2582755"/>
            <a:ext cx="394167" cy="3817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grpSp>
        <p:nvGrpSpPr>
          <p:cNvPr id="89" name="Group 8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9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9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2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2101916" y="369650"/>
            <a:ext cx="65848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baseline="1706" dirty="0" smtClean="0">
                <a:solidFill>
                  <a:srgbClr val="4E81BC"/>
                </a:solidFill>
                <a:latin typeface="+mj-lt"/>
                <a:cs typeface="Calibri"/>
              </a:rPr>
              <a:t>K­‐Means </a:t>
            </a:r>
            <a:r>
              <a:rPr sz="4800" spc="0" baseline="1706" dirty="0" smtClean="0">
                <a:solidFill>
                  <a:srgbClr val="F69545"/>
                </a:solidFill>
                <a:latin typeface="+mj-lt"/>
                <a:cs typeface="Calibri"/>
              </a:rPr>
              <a:t>K=2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53" name="object 13"/>
          <p:cNvSpPr txBox="1"/>
          <p:nvPr/>
        </p:nvSpPr>
        <p:spPr>
          <a:xfrm>
            <a:off x="2101916" y="852250"/>
            <a:ext cx="6661084" cy="431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Move</a:t>
            </a:r>
            <a:r>
              <a:rPr lang="en-US" sz="48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 each center to the cluster’s </a:t>
            </a:r>
            <a:r>
              <a:rPr lang="en-US" sz="4800" baseline="1706" dirty="0" smtClean="0">
                <a:solidFill>
                  <a:srgbClr val="7F7E7E"/>
                </a:solidFill>
                <a:latin typeface="+mj-lt"/>
                <a:cs typeface="Calibri"/>
              </a:rPr>
              <a:t>mean</a:t>
            </a:r>
            <a:endParaRPr sz="32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25264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0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1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5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36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37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604886" y="999752"/>
            <a:ext cx="8234313" cy="90524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spc="0" baseline="1706" dirty="0" smtClean="0">
                <a:solidFill>
                  <a:srgbClr val="7F7E7E"/>
                </a:solidFill>
                <a:latin typeface="+mj-lt"/>
                <a:cs typeface="Calibri"/>
              </a:rPr>
              <a:t>Distance between two cluster is average of all pairwise distance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105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39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0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1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4850897" y="3306736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average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108" name="object 13"/>
          <p:cNvSpPr txBox="1"/>
          <p:nvPr/>
        </p:nvSpPr>
        <p:spPr>
          <a:xfrm>
            <a:off x="604886" y="999752"/>
            <a:ext cx="8234313" cy="4283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Slower. No chains. Not</a:t>
            </a:r>
            <a:r>
              <a:rPr lang="en-US" sz="4200" dirty="0" smtClean="0">
                <a:solidFill>
                  <a:srgbClr val="F69545"/>
                </a:solidFill>
                <a:latin typeface="+mj-lt"/>
                <a:cs typeface="Calibri"/>
              </a:rPr>
              <a:t> </a:t>
            </a:r>
            <a:r>
              <a:rPr lang="en-US" sz="4200" baseline="1950" dirty="0" smtClean="0">
                <a:solidFill>
                  <a:srgbClr val="F69545"/>
                </a:solidFill>
                <a:latin typeface="+mj-lt"/>
                <a:cs typeface="Calibri"/>
              </a:rPr>
              <a:t>sensitive to outliers</a:t>
            </a:r>
            <a:r>
              <a:rPr lang="en-US" sz="4200" baseline="1950" dirty="0">
                <a:solidFill>
                  <a:srgbClr val="F69545"/>
                </a:solidFill>
                <a:latin typeface="+mj-lt"/>
                <a:cs typeface="Calibri"/>
              </a:rPr>
              <a:t>.</a:t>
            </a:r>
            <a:endParaRPr lang="en-US" sz="2800" dirty="0">
              <a:latin typeface="+mj-lt"/>
              <a:cs typeface="Calibri"/>
            </a:endParaRPr>
          </a:p>
        </p:txBody>
      </p:sp>
      <p:sp>
        <p:nvSpPr>
          <p:cNvPr id="107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4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4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  <p:sp>
        <p:nvSpPr>
          <p:cNvPr id="144" name="object 70"/>
          <p:cNvSpPr/>
          <p:nvPr/>
        </p:nvSpPr>
        <p:spPr>
          <a:xfrm>
            <a:off x="4859348" y="2899787"/>
            <a:ext cx="1771224" cy="274480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70"/>
          <p:cNvSpPr/>
          <p:nvPr/>
        </p:nvSpPr>
        <p:spPr>
          <a:xfrm>
            <a:off x="3126875" y="3174267"/>
            <a:ext cx="1762493" cy="1616623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70"/>
          <p:cNvSpPr/>
          <p:nvPr/>
        </p:nvSpPr>
        <p:spPr>
          <a:xfrm flipV="1">
            <a:off x="3118144" y="4798931"/>
            <a:ext cx="1719444" cy="91345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70"/>
          <p:cNvSpPr/>
          <p:nvPr/>
        </p:nvSpPr>
        <p:spPr>
          <a:xfrm>
            <a:off x="4846799" y="3048000"/>
            <a:ext cx="1757201" cy="2664387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70"/>
          <p:cNvSpPr/>
          <p:nvPr/>
        </p:nvSpPr>
        <p:spPr>
          <a:xfrm>
            <a:off x="4850897" y="3306736"/>
            <a:ext cx="62071" cy="2276399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70"/>
          <p:cNvSpPr/>
          <p:nvPr/>
        </p:nvSpPr>
        <p:spPr>
          <a:xfrm>
            <a:off x="3393969" y="3048000"/>
            <a:ext cx="3076238" cy="1806046"/>
          </a:xfrm>
          <a:custGeom>
            <a:avLst/>
            <a:gdLst/>
            <a:ahLst/>
            <a:cxnLst/>
            <a:rect l="l" t="t" r="r" b="b"/>
            <a:pathLst>
              <a:path w="226787" h="185432">
                <a:moveTo>
                  <a:pt x="226787" y="0"/>
                </a:moveTo>
                <a:lnTo>
                  <a:pt x="0" y="185432"/>
                </a:lnTo>
              </a:path>
            </a:pathLst>
          </a:custGeom>
          <a:ln w="38099">
            <a:solidFill>
              <a:srgbClr val="6094C9"/>
            </a:solidFill>
            <a:headEnd type="arrow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5" name="object 13"/>
          <p:cNvSpPr txBox="1"/>
          <p:nvPr/>
        </p:nvSpPr>
        <p:spPr>
          <a:xfrm>
            <a:off x="604886" y="999752"/>
            <a:ext cx="8234313" cy="9308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>
                <a:solidFill>
                  <a:srgbClr val="7F7E7E"/>
                </a:solidFill>
                <a:cs typeface="Calibri"/>
              </a:rPr>
              <a:t>Don’t </a:t>
            </a: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merge 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based on distance. Merge the two whose</a:t>
            </a:r>
            <a:endParaRPr lang="en-US" sz="2800" dirty="0">
              <a:solidFill>
                <a:srgbClr val="7F7E7E"/>
              </a:solidFill>
              <a:cs typeface="Calibri"/>
            </a:endParaRPr>
          </a:p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combination will give the best score (lowest inertia).</a:t>
            </a:r>
            <a:endParaRPr sz="4200" dirty="0">
              <a:solidFill>
                <a:srgbClr val="7F7E7E"/>
              </a:solidFill>
              <a:latin typeface="+mj-lt"/>
              <a:cs typeface="Calibri"/>
            </a:endParaRPr>
          </a:p>
        </p:txBody>
      </p:sp>
      <p:sp>
        <p:nvSpPr>
          <p:cNvPr id="86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2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3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4162425" y="1857375"/>
            <a:ext cx="3533775" cy="2628900"/>
          </a:xfrm>
          <a:custGeom>
            <a:avLst/>
            <a:gdLst>
              <a:gd name="connsiteX0" fmla="*/ 76200 w 3533775"/>
              <a:gd name="connsiteY0" fmla="*/ 333375 h 2628900"/>
              <a:gd name="connsiteX1" fmla="*/ 247650 w 3533775"/>
              <a:gd name="connsiteY1" fmla="*/ 171450 h 2628900"/>
              <a:gd name="connsiteX2" fmla="*/ 581025 w 3533775"/>
              <a:gd name="connsiteY2" fmla="*/ 28575 h 2628900"/>
              <a:gd name="connsiteX3" fmla="*/ 1143000 w 3533775"/>
              <a:gd name="connsiteY3" fmla="*/ 57150 h 2628900"/>
              <a:gd name="connsiteX4" fmla="*/ 1447800 w 3533775"/>
              <a:gd name="connsiteY4" fmla="*/ 0 h 2628900"/>
              <a:gd name="connsiteX5" fmla="*/ 1885950 w 3533775"/>
              <a:gd name="connsiteY5" fmla="*/ 19050 h 2628900"/>
              <a:gd name="connsiteX6" fmla="*/ 2695575 w 3533775"/>
              <a:gd name="connsiteY6" fmla="*/ 19050 h 2628900"/>
              <a:gd name="connsiteX7" fmla="*/ 3133725 w 3533775"/>
              <a:gd name="connsiteY7" fmla="*/ 171450 h 2628900"/>
              <a:gd name="connsiteX8" fmla="*/ 3343275 w 3533775"/>
              <a:gd name="connsiteY8" fmla="*/ 571500 h 2628900"/>
              <a:gd name="connsiteX9" fmla="*/ 3457575 w 3533775"/>
              <a:gd name="connsiteY9" fmla="*/ 866775 h 2628900"/>
              <a:gd name="connsiteX10" fmla="*/ 3533775 w 3533775"/>
              <a:gd name="connsiteY10" fmla="*/ 1314450 h 2628900"/>
              <a:gd name="connsiteX11" fmla="*/ 3438525 w 3533775"/>
              <a:gd name="connsiteY11" fmla="*/ 1952625 h 2628900"/>
              <a:gd name="connsiteX12" fmla="*/ 3333750 w 3533775"/>
              <a:gd name="connsiteY12" fmla="*/ 2257425 h 2628900"/>
              <a:gd name="connsiteX13" fmla="*/ 3209925 w 3533775"/>
              <a:gd name="connsiteY13" fmla="*/ 2466975 h 2628900"/>
              <a:gd name="connsiteX14" fmla="*/ 2838450 w 3533775"/>
              <a:gd name="connsiteY14" fmla="*/ 2562225 h 2628900"/>
              <a:gd name="connsiteX15" fmla="*/ 1885950 w 3533775"/>
              <a:gd name="connsiteY15" fmla="*/ 2590800 h 2628900"/>
              <a:gd name="connsiteX16" fmla="*/ 1781175 w 3533775"/>
              <a:gd name="connsiteY16" fmla="*/ 2600325 h 2628900"/>
              <a:gd name="connsiteX17" fmla="*/ 1581150 w 3533775"/>
              <a:gd name="connsiteY17" fmla="*/ 2628900 h 2628900"/>
              <a:gd name="connsiteX18" fmla="*/ 1447800 w 3533775"/>
              <a:gd name="connsiteY18" fmla="*/ 2628900 h 2628900"/>
              <a:gd name="connsiteX19" fmla="*/ 866775 w 3533775"/>
              <a:gd name="connsiteY19" fmla="*/ 2428875 h 2628900"/>
              <a:gd name="connsiteX20" fmla="*/ 752475 w 3533775"/>
              <a:gd name="connsiteY20" fmla="*/ 2352675 h 2628900"/>
              <a:gd name="connsiteX21" fmla="*/ 466725 w 3533775"/>
              <a:gd name="connsiteY21" fmla="*/ 2124075 h 2628900"/>
              <a:gd name="connsiteX22" fmla="*/ 247650 w 3533775"/>
              <a:gd name="connsiteY22" fmla="*/ 1857375 h 2628900"/>
              <a:gd name="connsiteX23" fmla="*/ 161925 w 3533775"/>
              <a:gd name="connsiteY23" fmla="*/ 1581150 h 2628900"/>
              <a:gd name="connsiteX24" fmla="*/ 76200 w 3533775"/>
              <a:gd name="connsiteY24" fmla="*/ 1247775 h 2628900"/>
              <a:gd name="connsiteX25" fmla="*/ 0 w 3533775"/>
              <a:gd name="connsiteY25" fmla="*/ 942975 h 2628900"/>
              <a:gd name="connsiteX26" fmla="*/ 0 w 3533775"/>
              <a:gd name="connsiteY26" fmla="*/ 647700 h 2628900"/>
              <a:gd name="connsiteX27" fmla="*/ 95250 w 3533775"/>
              <a:gd name="connsiteY27" fmla="*/ 28575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533775" h="2628900">
                <a:moveTo>
                  <a:pt x="76200" y="333375"/>
                </a:moveTo>
                <a:lnTo>
                  <a:pt x="247650" y="171450"/>
                </a:lnTo>
                <a:lnTo>
                  <a:pt x="581025" y="28575"/>
                </a:lnTo>
                <a:lnTo>
                  <a:pt x="1143000" y="57150"/>
                </a:lnTo>
                <a:lnTo>
                  <a:pt x="1447800" y="0"/>
                </a:lnTo>
                <a:lnTo>
                  <a:pt x="1885950" y="19050"/>
                </a:lnTo>
                <a:lnTo>
                  <a:pt x="2695575" y="19050"/>
                </a:lnTo>
                <a:lnTo>
                  <a:pt x="3133725" y="171450"/>
                </a:lnTo>
                <a:lnTo>
                  <a:pt x="3343275" y="571500"/>
                </a:lnTo>
                <a:lnTo>
                  <a:pt x="3457575" y="866775"/>
                </a:lnTo>
                <a:lnTo>
                  <a:pt x="3533775" y="1314450"/>
                </a:lnTo>
                <a:lnTo>
                  <a:pt x="3438525" y="1952625"/>
                </a:lnTo>
                <a:lnTo>
                  <a:pt x="3333750" y="2257425"/>
                </a:lnTo>
                <a:lnTo>
                  <a:pt x="3209925" y="2466975"/>
                </a:lnTo>
                <a:lnTo>
                  <a:pt x="2838450" y="2562225"/>
                </a:lnTo>
                <a:lnTo>
                  <a:pt x="1885950" y="2590800"/>
                </a:lnTo>
                <a:lnTo>
                  <a:pt x="1781175" y="2600325"/>
                </a:lnTo>
                <a:lnTo>
                  <a:pt x="1581150" y="2628900"/>
                </a:lnTo>
                <a:lnTo>
                  <a:pt x="1447800" y="2628900"/>
                </a:lnTo>
                <a:lnTo>
                  <a:pt x="866775" y="2428875"/>
                </a:lnTo>
                <a:cubicBezTo>
                  <a:pt x="765709" y="2358129"/>
                  <a:pt x="806189" y="2379532"/>
                  <a:pt x="752475" y="2352675"/>
                </a:cubicBezTo>
                <a:lnTo>
                  <a:pt x="466725" y="2124075"/>
                </a:lnTo>
                <a:lnTo>
                  <a:pt x="247650" y="1857375"/>
                </a:lnTo>
                <a:lnTo>
                  <a:pt x="161925" y="1581150"/>
                </a:lnTo>
                <a:lnTo>
                  <a:pt x="76200" y="1247775"/>
                </a:lnTo>
                <a:lnTo>
                  <a:pt x="0" y="942975"/>
                </a:lnTo>
                <a:lnTo>
                  <a:pt x="0" y="647700"/>
                </a:lnTo>
                <a:lnTo>
                  <a:pt x="95250" y="285750"/>
                </a:lnTo>
              </a:path>
            </a:pathLst>
          </a:custGeom>
          <a:noFill/>
          <a:ln w="28575">
            <a:solidFill>
              <a:srgbClr val="F6954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bject 3"/>
          <p:cNvSpPr txBox="1"/>
          <p:nvPr/>
        </p:nvSpPr>
        <p:spPr>
          <a:xfrm>
            <a:off x="604887" y="533891"/>
            <a:ext cx="8234312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linkage </a:t>
            </a:r>
            <a:r>
              <a:rPr lang="en-US" sz="4200" baseline="1950" dirty="0">
                <a:solidFill>
                  <a:srgbClr val="4E81BC"/>
                </a:solidFill>
                <a:latin typeface="+mj-lt"/>
                <a:cs typeface="Calibri"/>
              </a:rPr>
              <a:t>= </a:t>
            </a:r>
            <a:r>
              <a:rPr lang="en-US" sz="4200" baseline="1950" dirty="0" smtClean="0">
                <a:solidFill>
                  <a:srgbClr val="4E81BC"/>
                </a:solidFill>
                <a:latin typeface="+mj-lt"/>
                <a:cs typeface="Calibri"/>
              </a:rPr>
              <a:t>“ward”</a:t>
            </a:r>
            <a:endParaRPr sz="2800" dirty="0">
              <a:latin typeface="+mj-lt"/>
              <a:cs typeface="Calibri"/>
            </a:endParaRPr>
          </a:p>
        </p:txBody>
      </p:sp>
      <p:sp>
        <p:nvSpPr>
          <p:cNvPr id="86" name="object 13"/>
          <p:cNvSpPr txBox="1"/>
          <p:nvPr/>
        </p:nvSpPr>
        <p:spPr>
          <a:xfrm>
            <a:off x="604886" y="999752"/>
            <a:ext cx="8234313" cy="81548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This will 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choose </a:t>
            </a:r>
            <a:r>
              <a:rPr lang="en-US" sz="4200" baseline="1950" dirty="0">
                <a:solidFill>
                  <a:srgbClr val="7F7E7E"/>
                </a:solidFill>
                <a:cs typeface="Calibri"/>
              </a:rPr>
              <a:t>the merge with the 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minimum within-cluster variance (high density clusters). </a:t>
            </a:r>
            <a:endParaRPr lang="en-US"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87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2"/>
          <p:cNvSpPr txBox="1"/>
          <p:nvPr/>
        </p:nvSpPr>
        <p:spPr>
          <a:xfrm>
            <a:off x="1673165" y="2308963"/>
            <a:ext cx="6303362" cy="405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2"/>
          <p:cNvSpPr/>
          <p:nvPr/>
        </p:nvSpPr>
        <p:spPr>
          <a:xfrm>
            <a:off x="3691847" y="5875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84"/>
          <p:cNvSpPr/>
          <p:nvPr/>
        </p:nvSpPr>
        <p:spPr>
          <a:xfrm>
            <a:off x="4677222" y="590921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86"/>
          <p:cNvSpPr/>
          <p:nvPr/>
        </p:nvSpPr>
        <p:spPr>
          <a:xfrm>
            <a:off x="5529026" y="589026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74"/>
          <p:cNvSpPr/>
          <p:nvPr/>
        </p:nvSpPr>
        <p:spPr>
          <a:xfrm>
            <a:off x="1945944" y="558313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72"/>
          <p:cNvSpPr/>
          <p:nvPr/>
        </p:nvSpPr>
        <p:spPr>
          <a:xfrm>
            <a:off x="5236841" y="2905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70"/>
          <p:cNvSpPr/>
          <p:nvPr/>
        </p:nvSpPr>
        <p:spPr>
          <a:xfrm>
            <a:off x="4837588" y="252356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68"/>
          <p:cNvSpPr/>
          <p:nvPr/>
        </p:nvSpPr>
        <p:spPr>
          <a:xfrm>
            <a:off x="4425503" y="211104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66"/>
          <p:cNvSpPr/>
          <p:nvPr/>
        </p:nvSpPr>
        <p:spPr>
          <a:xfrm>
            <a:off x="6149478" y="38001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63"/>
          <p:cNvSpPr/>
          <p:nvPr/>
        </p:nvSpPr>
        <p:spPr>
          <a:xfrm>
            <a:off x="5158317" y="54094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62"/>
          <p:cNvSpPr/>
          <p:nvPr/>
        </p:nvSpPr>
        <p:spPr>
          <a:xfrm>
            <a:off x="3604437" y="388180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60"/>
          <p:cNvSpPr/>
          <p:nvPr/>
        </p:nvSpPr>
        <p:spPr>
          <a:xfrm>
            <a:off x="2728738" y="495895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58"/>
          <p:cNvSpPr/>
          <p:nvPr/>
        </p:nvSpPr>
        <p:spPr>
          <a:xfrm>
            <a:off x="6790937" y="243336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56"/>
          <p:cNvSpPr/>
          <p:nvPr/>
        </p:nvSpPr>
        <p:spPr>
          <a:xfrm>
            <a:off x="5830796" y="23498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4"/>
          <p:cNvSpPr/>
          <p:nvPr/>
        </p:nvSpPr>
        <p:spPr>
          <a:xfrm>
            <a:off x="6630572" y="314183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973599" y="450879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50"/>
          <p:cNvSpPr/>
          <p:nvPr/>
        </p:nvSpPr>
        <p:spPr>
          <a:xfrm>
            <a:off x="3718772" y="50002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48"/>
          <p:cNvSpPr/>
          <p:nvPr/>
        </p:nvSpPr>
        <p:spPr>
          <a:xfrm>
            <a:off x="2408007" y="44379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42"/>
          <p:cNvSpPr/>
          <p:nvPr/>
        </p:nvSpPr>
        <p:spPr>
          <a:xfrm>
            <a:off x="5025578" y="369976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44"/>
          <p:cNvSpPr/>
          <p:nvPr/>
        </p:nvSpPr>
        <p:spPr>
          <a:xfrm>
            <a:off x="4837588" y="296815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46"/>
          <p:cNvSpPr/>
          <p:nvPr/>
        </p:nvSpPr>
        <p:spPr>
          <a:xfrm>
            <a:off x="4698983" y="33524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40"/>
          <p:cNvSpPr/>
          <p:nvPr/>
        </p:nvSpPr>
        <p:spPr>
          <a:xfrm>
            <a:off x="4490595" y="5309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38"/>
          <p:cNvSpPr/>
          <p:nvPr/>
        </p:nvSpPr>
        <p:spPr>
          <a:xfrm>
            <a:off x="6309840" y="26070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36"/>
          <p:cNvSpPr/>
          <p:nvPr/>
        </p:nvSpPr>
        <p:spPr>
          <a:xfrm>
            <a:off x="6662640" y="379011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094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34"/>
          <p:cNvSpPr/>
          <p:nvPr/>
        </p:nvSpPr>
        <p:spPr>
          <a:xfrm>
            <a:off x="4315829" y="28709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32"/>
          <p:cNvSpPr/>
          <p:nvPr/>
        </p:nvSpPr>
        <p:spPr>
          <a:xfrm>
            <a:off x="6470207" y="198120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30"/>
          <p:cNvSpPr/>
          <p:nvPr/>
        </p:nvSpPr>
        <p:spPr>
          <a:xfrm>
            <a:off x="5479047" y="355789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AAC56C"/>
          </a:solidFill>
          <a:ln w="28575">
            <a:solidFill>
              <a:srgbClr val="83984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28"/>
          <p:cNvSpPr/>
          <p:nvPr/>
        </p:nvSpPr>
        <p:spPr>
          <a:xfrm>
            <a:off x="4155464" y="571658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26"/>
          <p:cNvSpPr/>
          <p:nvPr/>
        </p:nvSpPr>
        <p:spPr>
          <a:xfrm>
            <a:off x="4859348" y="49095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CD665F"/>
          </a:solidFill>
          <a:ln w="28575">
            <a:solidFill>
              <a:srgbClr val="9F4B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24"/>
          <p:cNvSpPr/>
          <p:nvPr/>
        </p:nvSpPr>
        <p:spPr>
          <a:xfrm>
            <a:off x="2806145" y="390525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22"/>
          <p:cNvSpPr/>
          <p:nvPr/>
        </p:nvSpPr>
        <p:spPr>
          <a:xfrm>
            <a:off x="2530320" y="55944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20"/>
          <p:cNvSpPr/>
          <p:nvPr/>
        </p:nvSpPr>
        <p:spPr>
          <a:xfrm>
            <a:off x="3126876" y="443922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D0FDD8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8"/>
          <p:cNvSpPr/>
          <p:nvPr/>
        </p:nvSpPr>
        <p:spPr>
          <a:xfrm>
            <a:off x="5991162" y="307897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FFFD47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"/>
          <p:cNvSpPr txBox="1"/>
          <p:nvPr/>
        </p:nvSpPr>
        <p:spPr>
          <a:xfrm>
            <a:off x="609600" y="4147206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1660913" y="2276856"/>
            <a:ext cx="6303362" cy="4054670"/>
            <a:chOff x="2343901" y="1923700"/>
            <a:chExt cx="6303362" cy="4054670"/>
          </a:xfrm>
        </p:grpSpPr>
        <p:sp>
          <p:nvSpPr>
            <p:cNvPr id="123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24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604886" y="2272039"/>
            <a:ext cx="8310513" cy="380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or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4887" y="3536565"/>
            <a:ext cx="8310513" cy="800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35"/>
              </a:lnSpc>
              <a:spcBef>
                <a:spcPts val="151"/>
              </a:spcBef>
            </a:pP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2925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2925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2925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2925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2925" dirty="0" smtClean="0">
                <a:solidFill>
                  <a:srgbClr val="9BBA58"/>
                </a:solidFill>
                <a:cs typeface="Calibri"/>
              </a:rPr>
              <a:t>Ward</a:t>
            </a:r>
            <a:endParaRPr sz="2800" dirty="0">
              <a:cs typeface="Calibri"/>
            </a:endParaRPr>
          </a:p>
          <a:p>
            <a:pPr marL="12700" marR="53339">
              <a:lnSpc>
                <a:spcPts val="3265"/>
              </a:lnSpc>
              <a:spcBef>
                <a:spcPts val="11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Ward().ﬁt_predict(X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04886" y="5220191"/>
            <a:ext cx="8310513" cy="3424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(Same thing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9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  <p:sp>
        <p:nvSpPr>
          <p:cNvPr id="10" name="object 3"/>
          <p:cNvSpPr txBox="1"/>
          <p:nvPr/>
        </p:nvSpPr>
        <p:spPr>
          <a:xfrm>
            <a:off x="604887" y="1003791"/>
            <a:ext cx="8310513" cy="4307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Agglomerative Clustering(linkage=“Ward”).</a:t>
            </a:r>
            <a:r>
              <a:rPr lang="en-US" sz="4200" baseline="1950" dirty="0" err="1" smtClean="0">
                <a:solidFill>
                  <a:srgbClr val="7F7E7E"/>
                </a:solidFill>
                <a:cs typeface="Calibri"/>
              </a:rPr>
              <a:t>fit_predict</a:t>
            </a:r>
            <a:r>
              <a:rPr lang="en-US" sz="4200" baseline="1950" dirty="0" smtClean="0">
                <a:solidFill>
                  <a:srgbClr val="7F7E7E"/>
                </a:solidFill>
                <a:cs typeface="Calibri"/>
              </a:rPr>
              <a:t>(X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4887" y="2235691"/>
            <a:ext cx="6769887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a</a:t>
            </a:r>
            <a:r>
              <a:rPr lang="en-US" sz="4200" spc="0" baseline="2925" dirty="0" smtClean="0">
                <a:solidFill>
                  <a:srgbClr val="7F7E7E"/>
                </a:solidFill>
                <a:cs typeface="Calibri"/>
              </a:rPr>
              <a:t>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779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aﬃnity = “euclidian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16680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4887" y="2235691"/>
            <a:ext cx="6769532" cy="2514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53340">
              <a:lnSpc>
                <a:spcPts val="3035"/>
              </a:lnSpc>
              <a:spcBef>
                <a:spcPts val="151"/>
              </a:spcBef>
            </a:pP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Agglomer</a:t>
            </a:r>
            <a:r>
              <a:rPr lang="en-US" sz="4200" baseline="2925" dirty="0" smtClean="0">
                <a:solidFill>
                  <a:srgbClr val="7F7E7E"/>
                </a:solidFill>
                <a:cs typeface="Calibri"/>
              </a:rPr>
              <a:t>ati</a:t>
            </a:r>
            <a:r>
              <a:rPr sz="4200" spc="0" baseline="2925" dirty="0" smtClean="0">
                <a:solidFill>
                  <a:srgbClr val="7F7E7E"/>
                </a:solidFill>
                <a:cs typeface="Calibri"/>
              </a:rPr>
              <a:t>veClustering(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18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 marR="53340">
              <a:lnSpc>
                <a:spcPts val="3300"/>
              </a:lnSpc>
            </a:pP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linkage = “ward”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30929" marR="2635424" algn="ctr">
              <a:lnSpc>
                <a:spcPts val="3400"/>
              </a:lnSpc>
              <a:spcBef>
                <a:spcPts val="5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,</a:t>
            </a:r>
            <a:endParaRPr sz="2800" dirty="0">
              <a:solidFill>
                <a:srgbClr val="7F7E7E"/>
              </a:solidFill>
              <a:cs typeface="Calibri"/>
            </a:endParaRPr>
          </a:p>
          <a:p>
            <a:pPr marL="3670300">
              <a:lnSpc>
                <a:spcPts val="3300"/>
              </a:lnSpc>
            </a:pPr>
            <a:r>
              <a:rPr sz="4200" spc="0" baseline="1950" dirty="0" smtClean="0">
                <a:solidFill>
                  <a:srgbClr val="F69545"/>
                </a:solidFill>
                <a:cs typeface="Calibri"/>
              </a:rPr>
              <a:t>aﬃnity = “euclidian”</a:t>
            </a:r>
            <a:r>
              <a:rPr sz="4200" spc="0" baseline="1950" dirty="0" smtClean="0">
                <a:solidFill>
                  <a:srgbClr val="7F7E7E"/>
                </a:solidFill>
                <a:cs typeface="Calibri"/>
              </a:rPr>
              <a:t>,</a:t>
            </a:r>
            <a:endParaRPr sz="2800" dirty="0">
              <a:cs typeface="Calibri"/>
            </a:endParaRPr>
          </a:p>
          <a:p>
            <a:pPr marL="3630929" marR="2616324" algn="ctr">
              <a:lnSpc>
                <a:spcPts val="3365"/>
              </a:lnSpc>
              <a:spcBef>
                <a:spcPts val="3"/>
              </a:spcBef>
            </a:pPr>
            <a:r>
              <a:rPr sz="2800" spc="0" dirty="0" smtClean="0">
                <a:solidFill>
                  <a:srgbClr val="7F7E7E"/>
                </a:solidFill>
                <a:cs typeface="Calibri"/>
              </a:rPr>
              <a:t>….)</a:t>
            </a:r>
            <a:endParaRPr sz="2800" dirty="0">
              <a:solidFill>
                <a:srgbClr val="7F7E7E"/>
              </a:solidFill>
              <a:cs typeface="Calibri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604887" y="533891"/>
            <a:ext cx="8310513" cy="381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00"/>
              </a:lnSpc>
              <a:spcBef>
                <a:spcPts val="150"/>
              </a:spcBef>
            </a:pP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fr</a:t>
            </a:r>
            <a:r>
              <a:rPr sz="4200" b="1" spc="-4" baseline="1950" dirty="0" smtClean="0">
                <a:solidFill>
                  <a:srgbClr val="7F7E7E"/>
                </a:solidFill>
                <a:cs typeface="Calibri"/>
              </a:rPr>
              <a:t>o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m </a:t>
            </a:r>
            <a:r>
              <a:rPr sz="4200" spc="0" baseline="1950" dirty="0" smtClean="0">
                <a:solidFill>
                  <a:srgbClr val="4E81BC"/>
                </a:solidFill>
                <a:cs typeface="Calibri"/>
              </a:rPr>
              <a:t>sklearn.cluster 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impo</a:t>
            </a:r>
            <a:r>
              <a:rPr sz="4200" b="1" spc="4" baseline="1950" dirty="0" smtClean="0">
                <a:solidFill>
                  <a:srgbClr val="7F7E7E"/>
                </a:solidFill>
                <a:cs typeface="Calibri"/>
              </a:rPr>
              <a:t>r</a:t>
            </a:r>
            <a:r>
              <a:rPr sz="4200" b="1" spc="0" baseline="1950" dirty="0" smtClean="0">
                <a:solidFill>
                  <a:srgbClr val="7F7E7E"/>
                </a:solidFill>
                <a:cs typeface="Calibri"/>
              </a:rPr>
              <a:t>t 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Agglomera</a:t>
            </a:r>
            <a:r>
              <a:rPr lang="en-US" sz="4200" spc="0" baseline="1950" dirty="0" smtClean="0">
                <a:solidFill>
                  <a:srgbClr val="9BBA58"/>
                </a:solidFill>
                <a:cs typeface="Calibri"/>
              </a:rPr>
              <a:t>ti</a:t>
            </a:r>
            <a:r>
              <a:rPr sz="4200" spc="0" baseline="1950" dirty="0" smtClean="0">
                <a:solidFill>
                  <a:srgbClr val="9BBA58"/>
                </a:solidFill>
                <a:cs typeface="Calibri"/>
              </a:rPr>
              <a:t>veClustering</a:t>
            </a:r>
            <a:endParaRPr sz="2800" dirty="0">
              <a:cs typeface="Calibri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41400" y="3691729"/>
            <a:ext cx="7048498" cy="2184138"/>
          </a:xfrm>
          <a:prstGeom prst="rect">
            <a:avLst/>
          </a:prstGeom>
          <a:blipFill>
            <a:blip r:embed="rId2" cstate="print"/>
            <a:srcRect/>
            <a:stretch>
              <a:fillRect t="-1" b="-38388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940428" y="2743200"/>
            <a:ext cx="7593972" cy="6027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715"/>
              </a:lnSpc>
            </a:pPr>
            <a:r>
              <a:rPr lang="en-US" sz="6600" baseline="3103" dirty="0">
                <a:solidFill>
                  <a:srgbClr val="F69545"/>
                </a:solidFill>
                <a:cs typeface="Calibri"/>
              </a:rPr>
              <a:t>Distance Metrics</a:t>
            </a:r>
          </a:p>
        </p:txBody>
      </p:sp>
    </p:spTree>
    <p:extLst>
      <p:ext uri="{BB962C8B-B14F-4D97-AF65-F5344CB8AC3E}">
        <p14:creationId xmlns:p14="http://schemas.microsoft.com/office/powerpoint/2010/main" val="13635288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41016" y="545066"/>
            <a:ext cx="7874384" cy="4360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>
              <a:lnSpc>
                <a:spcPts val="3400"/>
              </a:lnSpc>
              <a:spcBef>
                <a:spcPts val="170"/>
              </a:spcBef>
            </a:pPr>
            <a:r>
              <a:rPr sz="4800" spc="0" baseline="1706" dirty="0" smtClean="0">
                <a:solidFill>
                  <a:srgbClr val="4E81BC"/>
                </a:solidFill>
                <a:latin typeface="+mj-lt"/>
                <a:cs typeface="Calibri"/>
              </a:rPr>
              <a:t>Euclidean Distance</a:t>
            </a:r>
            <a:endParaRPr sz="3200" dirty="0">
              <a:latin typeface="+mj-lt"/>
              <a:cs typeface="Calibri"/>
            </a:endParaRPr>
          </a:p>
        </p:txBody>
      </p:sp>
      <p:sp>
        <p:nvSpPr>
          <p:cNvPr id="115" name="object 82"/>
          <p:cNvSpPr/>
          <p:nvPr/>
        </p:nvSpPr>
        <p:spPr>
          <a:xfrm>
            <a:off x="4414372" y="548718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84"/>
          <p:cNvSpPr/>
          <p:nvPr/>
        </p:nvSpPr>
        <p:spPr>
          <a:xfrm>
            <a:off x="5399747" y="552129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86"/>
          <p:cNvSpPr/>
          <p:nvPr/>
        </p:nvSpPr>
        <p:spPr>
          <a:xfrm>
            <a:off x="6251551" y="550233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7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5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4" y="218395"/>
                </a:lnTo>
                <a:lnTo>
                  <a:pt x="311328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0" y="282563"/>
                </a:lnTo>
                <a:lnTo>
                  <a:pt x="276593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74"/>
          <p:cNvSpPr/>
          <p:nvPr/>
        </p:nvSpPr>
        <p:spPr>
          <a:xfrm>
            <a:off x="2668469" y="519520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72"/>
          <p:cNvSpPr/>
          <p:nvPr/>
        </p:nvSpPr>
        <p:spPr>
          <a:xfrm>
            <a:off x="5959366" y="251737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40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80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70"/>
          <p:cNvSpPr/>
          <p:nvPr/>
        </p:nvSpPr>
        <p:spPr>
          <a:xfrm>
            <a:off x="5560113" y="213564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68"/>
          <p:cNvSpPr/>
          <p:nvPr/>
        </p:nvSpPr>
        <p:spPr>
          <a:xfrm>
            <a:off x="5148028" y="172311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66"/>
          <p:cNvSpPr/>
          <p:nvPr/>
        </p:nvSpPr>
        <p:spPr>
          <a:xfrm>
            <a:off x="6872003" y="34121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1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63"/>
          <p:cNvSpPr/>
          <p:nvPr/>
        </p:nvSpPr>
        <p:spPr>
          <a:xfrm>
            <a:off x="5880842" y="502152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232" y="183106"/>
                </a:lnTo>
                <a:lnTo>
                  <a:pt x="1583" y="198179"/>
                </a:lnTo>
                <a:lnTo>
                  <a:pt x="4094" y="212848"/>
                </a:lnTo>
                <a:lnTo>
                  <a:pt x="7715" y="227058"/>
                </a:lnTo>
                <a:lnTo>
                  <a:pt x="12395" y="240752"/>
                </a:lnTo>
                <a:lnTo>
                  <a:pt x="18082" y="253876"/>
                </a:lnTo>
                <a:lnTo>
                  <a:pt x="24724" y="266375"/>
                </a:lnTo>
                <a:lnTo>
                  <a:pt x="32272" y="278192"/>
                </a:lnTo>
                <a:lnTo>
                  <a:pt x="40673" y="289272"/>
                </a:lnTo>
                <a:lnTo>
                  <a:pt x="49876" y="299561"/>
                </a:lnTo>
                <a:lnTo>
                  <a:pt x="59830" y="309001"/>
                </a:lnTo>
                <a:lnTo>
                  <a:pt x="70485" y="317539"/>
                </a:lnTo>
                <a:lnTo>
                  <a:pt x="81788" y="325118"/>
                </a:lnTo>
                <a:lnTo>
                  <a:pt x="93689" y="331684"/>
                </a:lnTo>
                <a:lnTo>
                  <a:pt x="106136" y="337180"/>
                </a:lnTo>
                <a:lnTo>
                  <a:pt x="119079" y="341551"/>
                </a:lnTo>
                <a:lnTo>
                  <a:pt x="132465" y="344742"/>
                </a:lnTo>
                <a:lnTo>
                  <a:pt x="146244" y="346697"/>
                </a:lnTo>
                <a:lnTo>
                  <a:pt x="160365" y="347361"/>
                </a:lnTo>
                <a:lnTo>
                  <a:pt x="169069" y="347110"/>
                </a:lnTo>
                <a:lnTo>
                  <a:pt x="182986" y="345646"/>
                </a:lnTo>
                <a:lnTo>
                  <a:pt x="196530" y="342926"/>
                </a:lnTo>
                <a:lnTo>
                  <a:pt x="209650" y="339004"/>
                </a:lnTo>
                <a:lnTo>
                  <a:pt x="222295" y="333936"/>
                </a:lnTo>
                <a:lnTo>
                  <a:pt x="234413" y="327778"/>
                </a:lnTo>
                <a:lnTo>
                  <a:pt x="245953" y="320583"/>
                </a:lnTo>
                <a:lnTo>
                  <a:pt x="256864" y="312409"/>
                </a:lnTo>
                <a:lnTo>
                  <a:pt x="267095" y="303311"/>
                </a:lnTo>
                <a:lnTo>
                  <a:pt x="276595" y="293343"/>
                </a:lnTo>
                <a:lnTo>
                  <a:pt x="285312" y="282562"/>
                </a:lnTo>
                <a:lnTo>
                  <a:pt x="293195" y="271023"/>
                </a:lnTo>
                <a:lnTo>
                  <a:pt x="300193" y="258781"/>
                </a:lnTo>
                <a:lnTo>
                  <a:pt x="306255" y="245892"/>
                </a:lnTo>
                <a:lnTo>
                  <a:pt x="311330" y="232411"/>
                </a:lnTo>
                <a:lnTo>
                  <a:pt x="315366" y="218394"/>
                </a:lnTo>
                <a:lnTo>
                  <a:pt x="318312" y="203896"/>
                </a:lnTo>
                <a:lnTo>
                  <a:pt x="320117" y="188973"/>
                </a:lnTo>
                <a:lnTo>
                  <a:pt x="320730" y="173680"/>
                </a:lnTo>
                <a:lnTo>
                  <a:pt x="320498" y="164254"/>
                </a:lnTo>
                <a:lnTo>
                  <a:pt x="319147" y="149181"/>
                </a:lnTo>
                <a:lnTo>
                  <a:pt x="316636" y="134512"/>
                </a:lnTo>
                <a:lnTo>
                  <a:pt x="313015" y="120303"/>
                </a:lnTo>
                <a:lnTo>
                  <a:pt x="308335" y="106609"/>
                </a:lnTo>
                <a:lnTo>
                  <a:pt x="302649" y="93485"/>
                </a:lnTo>
                <a:lnTo>
                  <a:pt x="296006" y="80986"/>
                </a:lnTo>
                <a:lnTo>
                  <a:pt x="288459" y="69169"/>
                </a:lnTo>
                <a:lnTo>
                  <a:pt x="280058" y="58089"/>
                </a:lnTo>
                <a:lnTo>
                  <a:pt x="270854" y="47800"/>
                </a:lnTo>
                <a:lnTo>
                  <a:pt x="260900" y="38359"/>
                </a:lnTo>
                <a:lnTo>
                  <a:pt x="250245" y="29822"/>
                </a:lnTo>
                <a:lnTo>
                  <a:pt x="238942" y="22242"/>
                </a:lnTo>
                <a:lnTo>
                  <a:pt x="227041" y="15677"/>
                </a:lnTo>
                <a:lnTo>
                  <a:pt x="214594" y="10181"/>
                </a:lnTo>
                <a:lnTo>
                  <a:pt x="201651" y="5810"/>
                </a:lnTo>
                <a:lnTo>
                  <a:pt x="188265" y="2619"/>
                </a:lnTo>
                <a:lnTo>
                  <a:pt x="174486" y="664"/>
                </a:lnTo>
                <a:lnTo>
                  <a:pt x="160365" y="0"/>
                </a:lnTo>
                <a:lnTo>
                  <a:pt x="151662" y="251"/>
                </a:lnTo>
                <a:lnTo>
                  <a:pt x="137745" y="1714"/>
                </a:lnTo>
                <a:lnTo>
                  <a:pt x="124200" y="4434"/>
                </a:lnTo>
                <a:lnTo>
                  <a:pt x="111080" y="8356"/>
                </a:lnTo>
                <a:lnTo>
                  <a:pt x="98436" y="13424"/>
                </a:lnTo>
                <a:lnTo>
                  <a:pt x="86318" y="19583"/>
                </a:lnTo>
                <a:lnTo>
                  <a:pt x="74777" y="26777"/>
                </a:lnTo>
                <a:lnTo>
                  <a:pt x="63866" y="34951"/>
                </a:lnTo>
                <a:lnTo>
                  <a:pt x="53635" y="44049"/>
                </a:lnTo>
                <a:lnTo>
                  <a:pt x="44136" y="54017"/>
                </a:lnTo>
                <a:lnTo>
                  <a:pt x="35419" y="64798"/>
                </a:lnTo>
                <a:lnTo>
                  <a:pt x="27535" y="76337"/>
                </a:lnTo>
                <a:lnTo>
                  <a:pt x="20537" y="88579"/>
                </a:lnTo>
                <a:lnTo>
                  <a:pt x="14475" y="101468"/>
                </a:lnTo>
                <a:lnTo>
                  <a:pt x="9400" y="114948"/>
                </a:lnTo>
                <a:lnTo>
                  <a:pt x="5364" y="128965"/>
                </a:lnTo>
                <a:lnTo>
                  <a:pt x="2418" y="143463"/>
                </a:lnTo>
                <a:lnTo>
                  <a:pt x="613" y="15838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62"/>
          <p:cNvSpPr/>
          <p:nvPr/>
        </p:nvSpPr>
        <p:spPr>
          <a:xfrm>
            <a:off x="4326962" y="349388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60"/>
          <p:cNvSpPr/>
          <p:nvPr/>
        </p:nvSpPr>
        <p:spPr>
          <a:xfrm>
            <a:off x="3451263" y="457102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58"/>
          <p:cNvSpPr/>
          <p:nvPr/>
        </p:nvSpPr>
        <p:spPr>
          <a:xfrm>
            <a:off x="7513462" y="204543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56"/>
          <p:cNvSpPr/>
          <p:nvPr/>
        </p:nvSpPr>
        <p:spPr>
          <a:xfrm>
            <a:off x="6553321" y="196196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7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54"/>
          <p:cNvSpPr/>
          <p:nvPr/>
        </p:nvSpPr>
        <p:spPr>
          <a:xfrm>
            <a:off x="7353097" y="2753913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52"/>
          <p:cNvSpPr/>
          <p:nvPr/>
        </p:nvSpPr>
        <p:spPr>
          <a:xfrm>
            <a:off x="4696124" y="4120868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50"/>
          <p:cNvSpPr/>
          <p:nvPr/>
        </p:nvSpPr>
        <p:spPr>
          <a:xfrm>
            <a:off x="4441297" y="461235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48"/>
          <p:cNvSpPr/>
          <p:nvPr/>
        </p:nvSpPr>
        <p:spPr>
          <a:xfrm>
            <a:off x="3130532" y="40499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6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42"/>
          <p:cNvSpPr/>
          <p:nvPr/>
        </p:nvSpPr>
        <p:spPr>
          <a:xfrm>
            <a:off x="5748103" y="331184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1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44"/>
          <p:cNvSpPr/>
          <p:nvPr/>
        </p:nvSpPr>
        <p:spPr>
          <a:xfrm>
            <a:off x="5560113" y="258023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3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46"/>
          <p:cNvSpPr/>
          <p:nvPr/>
        </p:nvSpPr>
        <p:spPr>
          <a:xfrm>
            <a:off x="5421508" y="2964479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40"/>
          <p:cNvSpPr/>
          <p:nvPr/>
        </p:nvSpPr>
        <p:spPr>
          <a:xfrm>
            <a:off x="5213120" y="492168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38"/>
          <p:cNvSpPr/>
          <p:nvPr/>
        </p:nvSpPr>
        <p:spPr>
          <a:xfrm>
            <a:off x="7032365" y="221911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6" y="149181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36"/>
          <p:cNvSpPr/>
          <p:nvPr/>
        </p:nvSpPr>
        <p:spPr>
          <a:xfrm>
            <a:off x="7385165" y="340218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38701" h="347361">
                <a:moveTo>
                  <a:pt x="338701" y="173680"/>
                </a:moveTo>
                <a:lnTo>
                  <a:pt x="338086" y="158773"/>
                </a:lnTo>
                <a:lnTo>
                  <a:pt x="336274" y="144215"/>
                </a:lnTo>
                <a:lnTo>
                  <a:pt x="333315" y="130059"/>
                </a:lnTo>
                <a:lnTo>
                  <a:pt x="329260" y="116355"/>
                </a:lnTo>
                <a:lnTo>
                  <a:pt x="324157" y="103155"/>
                </a:lnTo>
                <a:lnTo>
                  <a:pt x="318058" y="90510"/>
                </a:lnTo>
                <a:lnTo>
                  <a:pt x="311012" y="78472"/>
                </a:lnTo>
                <a:lnTo>
                  <a:pt x="303069" y="67092"/>
                </a:lnTo>
                <a:lnTo>
                  <a:pt x="294280" y="56421"/>
                </a:lnTo>
                <a:lnTo>
                  <a:pt x="284694" y="46511"/>
                </a:lnTo>
                <a:lnTo>
                  <a:pt x="274362" y="37412"/>
                </a:lnTo>
                <a:lnTo>
                  <a:pt x="263333" y="29177"/>
                </a:lnTo>
                <a:lnTo>
                  <a:pt x="251657" y="21856"/>
                </a:lnTo>
                <a:lnTo>
                  <a:pt x="239385" y="15500"/>
                </a:lnTo>
                <a:lnTo>
                  <a:pt x="226566" y="10162"/>
                </a:lnTo>
                <a:lnTo>
                  <a:pt x="213252" y="5892"/>
                </a:lnTo>
                <a:lnTo>
                  <a:pt x="199490" y="2742"/>
                </a:lnTo>
                <a:lnTo>
                  <a:pt x="185333" y="763"/>
                </a:lnTo>
                <a:lnTo>
                  <a:pt x="170829" y="6"/>
                </a:lnTo>
                <a:lnTo>
                  <a:pt x="169350" y="0"/>
                </a:lnTo>
                <a:lnTo>
                  <a:pt x="154814" y="630"/>
                </a:lnTo>
                <a:lnTo>
                  <a:pt x="140620" y="2489"/>
                </a:lnTo>
                <a:lnTo>
                  <a:pt x="126816" y="5523"/>
                </a:lnTo>
                <a:lnTo>
                  <a:pt x="113454" y="9683"/>
                </a:lnTo>
                <a:lnTo>
                  <a:pt x="100583" y="14916"/>
                </a:lnTo>
                <a:lnTo>
                  <a:pt x="88254" y="21171"/>
                </a:lnTo>
                <a:lnTo>
                  <a:pt x="76516" y="28397"/>
                </a:lnTo>
                <a:lnTo>
                  <a:pt x="65420" y="36543"/>
                </a:lnTo>
                <a:lnTo>
                  <a:pt x="55015" y="45557"/>
                </a:lnTo>
                <a:lnTo>
                  <a:pt x="45351" y="55388"/>
                </a:lnTo>
                <a:lnTo>
                  <a:pt x="36479" y="65984"/>
                </a:lnTo>
                <a:lnTo>
                  <a:pt x="28449" y="77295"/>
                </a:lnTo>
                <a:lnTo>
                  <a:pt x="21311" y="89269"/>
                </a:lnTo>
                <a:lnTo>
                  <a:pt x="15114" y="101855"/>
                </a:lnTo>
                <a:lnTo>
                  <a:pt x="9909" y="115001"/>
                </a:lnTo>
                <a:lnTo>
                  <a:pt x="5745" y="128657"/>
                </a:lnTo>
                <a:lnTo>
                  <a:pt x="2674" y="142770"/>
                </a:lnTo>
                <a:lnTo>
                  <a:pt x="744" y="157289"/>
                </a:lnTo>
                <a:lnTo>
                  <a:pt x="6" y="172164"/>
                </a:lnTo>
                <a:lnTo>
                  <a:pt x="0" y="173680"/>
                </a:lnTo>
                <a:lnTo>
                  <a:pt x="615" y="188588"/>
                </a:lnTo>
                <a:lnTo>
                  <a:pt x="2427" y="203146"/>
                </a:lnTo>
                <a:lnTo>
                  <a:pt x="5386" y="217302"/>
                </a:lnTo>
                <a:lnTo>
                  <a:pt x="9441" y="231006"/>
                </a:lnTo>
                <a:lnTo>
                  <a:pt x="14544" y="244206"/>
                </a:lnTo>
                <a:lnTo>
                  <a:pt x="20643" y="256850"/>
                </a:lnTo>
                <a:lnTo>
                  <a:pt x="27689" y="268888"/>
                </a:lnTo>
                <a:lnTo>
                  <a:pt x="35631" y="280269"/>
                </a:lnTo>
                <a:lnTo>
                  <a:pt x="44421" y="290940"/>
                </a:lnTo>
                <a:lnTo>
                  <a:pt x="54007" y="300850"/>
                </a:lnTo>
                <a:lnTo>
                  <a:pt x="64339" y="309949"/>
                </a:lnTo>
                <a:lnTo>
                  <a:pt x="75368" y="318184"/>
                </a:lnTo>
                <a:lnTo>
                  <a:pt x="87044" y="325505"/>
                </a:lnTo>
                <a:lnTo>
                  <a:pt x="99316" y="331861"/>
                </a:lnTo>
                <a:lnTo>
                  <a:pt x="112134" y="337199"/>
                </a:lnTo>
                <a:lnTo>
                  <a:pt x="125449" y="341469"/>
                </a:lnTo>
                <a:lnTo>
                  <a:pt x="139210" y="344619"/>
                </a:lnTo>
                <a:lnTo>
                  <a:pt x="153368" y="346598"/>
                </a:lnTo>
                <a:lnTo>
                  <a:pt x="167872" y="347355"/>
                </a:lnTo>
                <a:lnTo>
                  <a:pt x="169350" y="347361"/>
                </a:lnTo>
                <a:lnTo>
                  <a:pt x="183886" y="346731"/>
                </a:lnTo>
                <a:lnTo>
                  <a:pt x="198081" y="344872"/>
                </a:lnTo>
                <a:lnTo>
                  <a:pt x="211885" y="341838"/>
                </a:lnTo>
                <a:lnTo>
                  <a:pt x="225247" y="337678"/>
                </a:lnTo>
                <a:lnTo>
                  <a:pt x="238117" y="332445"/>
                </a:lnTo>
                <a:lnTo>
                  <a:pt x="250447" y="326190"/>
                </a:lnTo>
                <a:lnTo>
                  <a:pt x="262185" y="318964"/>
                </a:lnTo>
                <a:lnTo>
                  <a:pt x="273281" y="310818"/>
                </a:lnTo>
                <a:lnTo>
                  <a:pt x="283686" y="301804"/>
                </a:lnTo>
                <a:lnTo>
                  <a:pt x="293349" y="291973"/>
                </a:lnTo>
                <a:lnTo>
                  <a:pt x="302221" y="281377"/>
                </a:lnTo>
                <a:lnTo>
                  <a:pt x="310251" y="270066"/>
                </a:lnTo>
                <a:lnTo>
                  <a:pt x="317390" y="258092"/>
                </a:lnTo>
                <a:lnTo>
                  <a:pt x="323587" y="245506"/>
                </a:lnTo>
                <a:lnTo>
                  <a:pt x="328792" y="232360"/>
                </a:lnTo>
                <a:lnTo>
                  <a:pt x="332956" y="218704"/>
                </a:lnTo>
                <a:lnTo>
                  <a:pt x="336027" y="204591"/>
                </a:lnTo>
                <a:lnTo>
                  <a:pt x="337957" y="190071"/>
                </a:lnTo>
                <a:lnTo>
                  <a:pt x="338695" y="175197"/>
                </a:lnTo>
                <a:lnTo>
                  <a:pt x="338701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34"/>
          <p:cNvSpPr/>
          <p:nvPr/>
        </p:nvSpPr>
        <p:spPr>
          <a:xfrm>
            <a:off x="5038354" y="2483005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5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1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4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32"/>
          <p:cNvSpPr/>
          <p:nvPr/>
        </p:nvSpPr>
        <p:spPr>
          <a:xfrm>
            <a:off x="7192732" y="1593274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3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30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5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30"/>
          <p:cNvSpPr/>
          <p:nvPr/>
        </p:nvSpPr>
        <p:spPr>
          <a:xfrm>
            <a:off x="6201572" y="3169970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29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29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2"/>
                </a:lnTo>
                <a:lnTo>
                  <a:pt x="146244" y="346698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3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28"/>
          <p:cNvSpPr/>
          <p:nvPr/>
        </p:nvSpPr>
        <p:spPr>
          <a:xfrm>
            <a:off x="4877989" y="532865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26"/>
          <p:cNvSpPr/>
          <p:nvPr/>
        </p:nvSpPr>
        <p:spPr>
          <a:xfrm>
            <a:off x="5581873" y="452161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24"/>
          <p:cNvSpPr/>
          <p:nvPr/>
        </p:nvSpPr>
        <p:spPr>
          <a:xfrm>
            <a:off x="3528670" y="3517331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22"/>
          <p:cNvSpPr/>
          <p:nvPr/>
        </p:nvSpPr>
        <p:spPr>
          <a:xfrm>
            <a:off x="3252845" y="5206506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5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9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20"/>
          <p:cNvSpPr/>
          <p:nvPr/>
        </p:nvSpPr>
        <p:spPr>
          <a:xfrm>
            <a:off x="3849401" y="4051297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1">
                <a:moveTo>
                  <a:pt x="0" y="173681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50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5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5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3"/>
                </a:lnTo>
                <a:lnTo>
                  <a:pt x="319147" y="149182"/>
                </a:lnTo>
                <a:lnTo>
                  <a:pt x="320497" y="164254"/>
                </a:lnTo>
                <a:lnTo>
                  <a:pt x="320730" y="173681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2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5" y="347361"/>
                </a:lnTo>
                <a:lnTo>
                  <a:pt x="146244" y="346697"/>
                </a:lnTo>
                <a:lnTo>
                  <a:pt x="132465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9" y="331684"/>
                </a:lnTo>
                <a:lnTo>
                  <a:pt x="81788" y="325119"/>
                </a:lnTo>
                <a:lnTo>
                  <a:pt x="70485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8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7"/>
                </a:lnTo>
                <a:lnTo>
                  <a:pt x="0" y="173681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8"/>
          <p:cNvSpPr/>
          <p:nvPr/>
        </p:nvSpPr>
        <p:spPr>
          <a:xfrm>
            <a:off x="6713687" y="2691052"/>
            <a:ext cx="347472" cy="347472"/>
          </a:xfrm>
          <a:custGeom>
            <a:avLst/>
            <a:gdLst/>
            <a:ahLst/>
            <a:cxnLst/>
            <a:rect l="l" t="t" r="r" b="b"/>
            <a:pathLst>
              <a:path w="320730" h="347362">
                <a:moveTo>
                  <a:pt x="0" y="173680"/>
                </a:moveTo>
                <a:lnTo>
                  <a:pt x="613" y="158387"/>
                </a:lnTo>
                <a:lnTo>
                  <a:pt x="2418" y="143464"/>
                </a:lnTo>
                <a:lnTo>
                  <a:pt x="5364" y="128966"/>
                </a:lnTo>
                <a:lnTo>
                  <a:pt x="9400" y="114949"/>
                </a:lnTo>
                <a:lnTo>
                  <a:pt x="14475" y="101468"/>
                </a:lnTo>
                <a:lnTo>
                  <a:pt x="20537" y="88579"/>
                </a:lnTo>
                <a:lnTo>
                  <a:pt x="27535" y="76337"/>
                </a:lnTo>
                <a:lnTo>
                  <a:pt x="35418" y="64798"/>
                </a:lnTo>
                <a:lnTo>
                  <a:pt x="44135" y="54017"/>
                </a:lnTo>
                <a:lnTo>
                  <a:pt x="53635" y="44049"/>
                </a:lnTo>
                <a:lnTo>
                  <a:pt x="63866" y="34951"/>
                </a:lnTo>
                <a:lnTo>
                  <a:pt x="74777" y="26777"/>
                </a:lnTo>
                <a:lnTo>
                  <a:pt x="86317" y="19583"/>
                </a:lnTo>
                <a:lnTo>
                  <a:pt x="98435" y="13424"/>
                </a:lnTo>
                <a:lnTo>
                  <a:pt x="111080" y="8356"/>
                </a:lnTo>
                <a:lnTo>
                  <a:pt x="124200" y="4434"/>
                </a:lnTo>
                <a:lnTo>
                  <a:pt x="137744" y="1714"/>
                </a:lnTo>
                <a:lnTo>
                  <a:pt x="151661" y="251"/>
                </a:lnTo>
                <a:lnTo>
                  <a:pt x="160364" y="0"/>
                </a:lnTo>
                <a:lnTo>
                  <a:pt x="174485" y="664"/>
                </a:lnTo>
                <a:lnTo>
                  <a:pt x="188264" y="2619"/>
                </a:lnTo>
                <a:lnTo>
                  <a:pt x="201651" y="5810"/>
                </a:lnTo>
                <a:lnTo>
                  <a:pt x="214593" y="10181"/>
                </a:lnTo>
                <a:lnTo>
                  <a:pt x="227040" y="15677"/>
                </a:lnTo>
                <a:lnTo>
                  <a:pt x="238941" y="22242"/>
                </a:lnTo>
                <a:lnTo>
                  <a:pt x="250244" y="29822"/>
                </a:lnTo>
                <a:lnTo>
                  <a:pt x="260899" y="38359"/>
                </a:lnTo>
                <a:lnTo>
                  <a:pt x="270853" y="47800"/>
                </a:lnTo>
                <a:lnTo>
                  <a:pt x="280057" y="58088"/>
                </a:lnTo>
                <a:lnTo>
                  <a:pt x="288458" y="69169"/>
                </a:lnTo>
                <a:lnTo>
                  <a:pt x="296005" y="80986"/>
                </a:lnTo>
                <a:lnTo>
                  <a:pt x="302648" y="93484"/>
                </a:lnTo>
                <a:lnTo>
                  <a:pt x="308334" y="106609"/>
                </a:lnTo>
                <a:lnTo>
                  <a:pt x="313014" y="120303"/>
                </a:lnTo>
                <a:lnTo>
                  <a:pt x="316635" y="134512"/>
                </a:lnTo>
                <a:lnTo>
                  <a:pt x="319147" y="149181"/>
                </a:lnTo>
                <a:lnTo>
                  <a:pt x="320497" y="164254"/>
                </a:lnTo>
                <a:lnTo>
                  <a:pt x="320730" y="173680"/>
                </a:lnTo>
                <a:lnTo>
                  <a:pt x="320116" y="188974"/>
                </a:lnTo>
                <a:lnTo>
                  <a:pt x="318311" y="203897"/>
                </a:lnTo>
                <a:lnTo>
                  <a:pt x="315365" y="218395"/>
                </a:lnTo>
                <a:lnTo>
                  <a:pt x="311329" y="232412"/>
                </a:lnTo>
                <a:lnTo>
                  <a:pt x="306254" y="245893"/>
                </a:lnTo>
                <a:lnTo>
                  <a:pt x="300192" y="258782"/>
                </a:lnTo>
                <a:lnTo>
                  <a:pt x="293194" y="271024"/>
                </a:lnTo>
                <a:lnTo>
                  <a:pt x="285311" y="282563"/>
                </a:lnTo>
                <a:lnTo>
                  <a:pt x="276594" y="293344"/>
                </a:lnTo>
                <a:lnTo>
                  <a:pt x="267094" y="303311"/>
                </a:lnTo>
                <a:lnTo>
                  <a:pt x="256863" y="312410"/>
                </a:lnTo>
                <a:lnTo>
                  <a:pt x="245952" y="320584"/>
                </a:lnTo>
                <a:lnTo>
                  <a:pt x="234412" y="327778"/>
                </a:lnTo>
                <a:lnTo>
                  <a:pt x="222294" y="333937"/>
                </a:lnTo>
                <a:lnTo>
                  <a:pt x="209649" y="339005"/>
                </a:lnTo>
                <a:lnTo>
                  <a:pt x="196529" y="342927"/>
                </a:lnTo>
                <a:lnTo>
                  <a:pt x="182985" y="345647"/>
                </a:lnTo>
                <a:lnTo>
                  <a:pt x="169068" y="347110"/>
                </a:lnTo>
                <a:lnTo>
                  <a:pt x="160364" y="347362"/>
                </a:lnTo>
                <a:lnTo>
                  <a:pt x="146243" y="346698"/>
                </a:lnTo>
                <a:lnTo>
                  <a:pt x="132464" y="344742"/>
                </a:lnTo>
                <a:lnTo>
                  <a:pt x="119078" y="341551"/>
                </a:lnTo>
                <a:lnTo>
                  <a:pt x="106136" y="337180"/>
                </a:lnTo>
                <a:lnTo>
                  <a:pt x="93688" y="331684"/>
                </a:lnTo>
                <a:lnTo>
                  <a:pt x="81788" y="325119"/>
                </a:lnTo>
                <a:lnTo>
                  <a:pt x="70484" y="317539"/>
                </a:lnTo>
                <a:lnTo>
                  <a:pt x="59830" y="309002"/>
                </a:lnTo>
                <a:lnTo>
                  <a:pt x="49876" y="299561"/>
                </a:lnTo>
                <a:lnTo>
                  <a:pt x="40672" y="289272"/>
                </a:lnTo>
                <a:lnTo>
                  <a:pt x="32271" y="278192"/>
                </a:lnTo>
                <a:lnTo>
                  <a:pt x="24724" y="266375"/>
                </a:lnTo>
                <a:lnTo>
                  <a:pt x="18081" y="253876"/>
                </a:lnTo>
                <a:lnTo>
                  <a:pt x="12395" y="240752"/>
                </a:lnTo>
                <a:lnTo>
                  <a:pt x="7715" y="227057"/>
                </a:lnTo>
                <a:lnTo>
                  <a:pt x="4094" y="212848"/>
                </a:lnTo>
                <a:lnTo>
                  <a:pt x="1582" y="198179"/>
                </a:lnTo>
                <a:lnTo>
                  <a:pt x="232" y="183106"/>
                </a:lnTo>
                <a:lnTo>
                  <a:pt x="0" y="173680"/>
                </a:lnTo>
                <a:close/>
              </a:path>
            </a:pathLst>
          </a:custGeom>
          <a:solidFill>
            <a:srgbClr val="937AB1"/>
          </a:solidFill>
          <a:ln w="28575">
            <a:solidFill>
              <a:srgbClr val="6F5B8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6"/>
          <p:cNvSpPr txBox="1"/>
          <p:nvPr/>
        </p:nvSpPr>
        <p:spPr>
          <a:xfrm>
            <a:off x="1332125" y="3759280"/>
            <a:ext cx="992822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Income</a:t>
            </a:r>
            <a:endParaRPr sz="2400" dirty="0">
              <a:cs typeface="Calibri"/>
            </a:endParaRPr>
          </a:p>
        </p:txBody>
      </p:sp>
      <p:sp>
        <p:nvSpPr>
          <p:cNvPr id="148" name="object 5"/>
          <p:cNvSpPr txBox="1"/>
          <p:nvPr/>
        </p:nvSpPr>
        <p:spPr>
          <a:xfrm>
            <a:off x="5426815" y="6116930"/>
            <a:ext cx="542241" cy="33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00"/>
              </a:lnSpc>
              <a:spcBef>
                <a:spcPts val="130"/>
              </a:spcBef>
            </a:pPr>
            <a:r>
              <a:rPr sz="3600" spc="0" baseline="2275" dirty="0" smtClean="0">
                <a:solidFill>
                  <a:srgbClr val="7F7E7E"/>
                </a:solidFill>
                <a:cs typeface="Calibri"/>
              </a:rPr>
              <a:t>Age</a:t>
            </a:r>
            <a:endParaRPr sz="2400">
              <a:cs typeface="Calibri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2383438" y="1888930"/>
            <a:ext cx="6303362" cy="4054670"/>
            <a:chOff x="2343901" y="1923700"/>
            <a:chExt cx="6303362" cy="4054670"/>
          </a:xfrm>
        </p:grpSpPr>
        <p:sp>
          <p:nvSpPr>
            <p:cNvPr id="150" name="object 67"/>
            <p:cNvSpPr/>
            <p:nvPr/>
          </p:nvSpPr>
          <p:spPr>
            <a:xfrm>
              <a:off x="2343901" y="1923700"/>
              <a:ext cx="0" cy="4054670"/>
            </a:xfrm>
            <a:custGeom>
              <a:avLst/>
              <a:gdLst/>
              <a:ahLst/>
              <a:cxnLst/>
              <a:rect l="l" t="t" r="r" b="b"/>
              <a:pathLst>
                <a:path h="4054670">
                  <a:moveTo>
                    <a:pt x="0" y="4054670"/>
                  </a:moveTo>
                  <a:lnTo>
                    <a:pt x="0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151" name="object 70"/>
            <p:cNvSpPr/>
            <p:nvPr/>
          </p:nvSpPr>
          <p:spPr>
            <a:xfrm>
              <a:off x="2343901" y="5978370"/>
              <a:ext cx="6303362" cy="0"/>
            </a:xfrm>
            <a:custGeom>
              <a:avLst/>
              <a:gdLst/>
              <a:ahLst/>
              <a:cxnLst/>
              <a:rect l="l" t="t" r="r" b="b"/>
              <a:pathLst>
                <a:path w="6303362">
                  <a:moveTo>
                    <a:pt x="0" y="0"/>
                  </a:moveTo>
                  <a:lnTo>
                    <a:pt x="6303362" y="0"/>
                  </a:lnTo>
                </a:path>
              </a:pathLst>
            </a:custGeom>
            <a:ln w="25399">
              <a:solidFill>
                <a:srgbClr val="6094C9"/>
              </a:solidFill>
              <a:headEnd type="none"/>
              <a:tailEnd type="arrow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7</TotalTime>
  <Words>5167</Words>
  <Application>Microsoft Macintosh PowerPoint</Application>
  <PresentationFormat>On-screen Show (4:3)</PresentationFormat>
  <Paragraphs>1382</Paragraphs>
  <Slides>23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6</vt:i4>
      </vt:variant>
    </vt:vector>
  </HeadingPairs>
  <TitlesOfParts>
    <vt:vector size="238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Jon B</cp:lastModifiedBy>
  <cp:revision>152</cp:revision>
  <dcterms:modified xsi:type="dcterms:W3CDTF">2018-03-02T20:10:43Z</dcterms:modified>
</cp:coreProperties>
</file>